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06" r:id="rId2"/>
    <p:sldId id="319" r:id="rId3"/>
    <p:sldId id="321" r:id="rId4"/>
    <p:sldId id="311" r:id="rId5"/>
    <p:sldId id="312" r:id="rId6"/>
    <p:sldId id="318" r:id="rId7"/>
    <p:sldId id="329" r:id="rId8"/>
    <p:sldId id="340" r:id="rId9"/>
    <p:sldId id="328" r:id="rId10"/>
    <p:sldId id="344" r:id="rId11"/>
    <p:sldId id="345" r:id="rId12"/>
    <p:sldId id="346" r:id="rId13"/>
    <p:sldId id="347" r:id="rId14"/>
    <p:sldId id="348" r:id="rId15"/>
    <p:sldId id="335" r:id="rId16"/>
    <p:sldId id="336" r:id="rId17"/>
    <p:sldId id="337" r:id="rId18"/>
    <p:sldId id="338" r:id="rId19"/>
    <p:sldId id="339" r:id="rId20"/>
    <p:sldId id="324" r:id="rId21"/>
  </p:sldIdLst>
  <p:sldSz cx="12192000" cy="685800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8" userDrawn="1">
          <p15:clr>
            <a:srgbClr val="A4A3A4"/>
          </p15:clr>
        </p15:guide>
        <p15:guide id="3" orient="horz" pos="21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y Steerman" initials="KS" lastIdx="2" clrIdx="0">
    <p:extLst>
      <p:ext uri="{19B8F6BF-5375-455C-9EA6-DF929625EA0E}">
        <p15:presenceInfo xmlns:p15="http://schemas.microsoft.com/office/powerpoint/2012/main" userId="Kathy Ste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577C"/>
    <a:srgbClr val="4AA6E3"/>
    <a:srgbClr val="06376A"/>
    <a:srgbClr val="4F6077"/>
    <a:srgbClr val="013061"/>
    <a:srgbClr val="4C5C73"/>
    <a:srgbClr val="429BD6"/>
    <a:srgbClr val="194F73"/>
    <a:srgbClr val="A9D7F9"/>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404DE-8FD7-4064-B002-2A0D82B89909}" v="1" dt="2023-12-18T16:34:48.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840" y="48"/>
      </p:cViewPr>
      <p:guideLst>
        <p:guide pos="408"/>
        <p:guide orient="horz" pos="218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Harrington" userId="18242eab-60a8-4793-9a10-805857572d11" providerId="ADAL" clId="{C66DC3C0-0771-443E-8162-5388A87AE7A0}"/>
    <pc:docChg chg="undo custSel modSld">
      <pc:chgData name="Dan Harrington" userId="18242eab-60a8-4793-9a10-805857572d11" providerId="ADAL" clId="{C66DC3C0-0771-443E-8162-5388A87AE7A0}" dt="2023-12-19T15:27:24.148" v="54" actId="20577"/>
      <pc:docMkLst>
        <pc:docMk/>
      </pc:docMkLst>
      <pc:sldChg chg="modSp mod">
        <pc:chgData name="Dan Harrington" userId="18242eab-60a8-4793-9a10-805857572d11" providerId="ADAL" clId="{C66DC3C0-0771-443E-8162-5388A87AE7A0}" dt="2023-12-19T15:27:24.148" v="54" actId="20577"/>
        <pc:sldMkLst>
          <pc:docMk/>
          <pc:sldMk cId="460027605" sldId="312"/>
        </pc:sldMkLst>
        <pc:spChg chg="mod">
          <ac:chgData name="Dan Harrington" userId="18242eab-60a8-4793-9a10-805857572d11" providerId="ADAL" clId="{C66DC3C0-0771-443E-8162-5388A87AE7A0}" dt="2023-12-19T15:27:24.148" v="54" actId="20577"/>
          <ac:spMkLst>
            <pc:docMk/>
            <pc:sldMk cId="460027605" sldId="312"/>
            <ac:spMk id="6" creationId="{4B383A1F-DBA7-4D0D-871E-55BFE2B1EDAA}"/>
          </ac:spMkLst>
        </pc:spChg>
      </pc:sldChg>
      <pc:sldChg chg="addSp delSp modSp mod">
        <pc:chgData name="Dan Harrington" userId="18242eab-60a8-4793-9a10-805857572d11" providerId="ADAL" clId="{C66DC3C0-0771-443E-8162-5388A87AE7A0}" dt="2023-12-19T15:26:29.516" v="44" actId="13926"/>
        <pc:sldMkLst>
          <pc:docMk/>
          <pc:sldMk cId="3715377214" sldId="329"/>
        </pc:sldMkLst>
        <pc:spChg chg="mod">
          <ac:chgData name="Dan Harrington" userId="18242eab-60a8-4793-9a10-805857572d11" providerId="ADAL" clId="{C66DC3C0-0771-443E-8162-5388A87AE7A0}" dt="2023-12-19T15:26:29.516" v="44" actId="13926"/>
          <ac:spMkLst>
            <pc:docMk/>
            <pc:sldMk cId="3715377214" sldId="329"/>
            <ac:spMk id="5" creationId="{58175C89-3DAC-F488-EFC2-9E47E5C62AA8}"/>
          </ac:spMkLst>
        </pc:spChg>
        <pc:spChg chg="add del">
          <ac:chgData name="Dan Harrington" userId="18242eab-60a8-4793-9a10-805857572d11" providerId="ADAL" clId="{C66DC3C0-0771-443E-8162-5388A87AE7A0}" dt="2023-12-19T15:24:31.532" v="2" actId="478"/>
          <ac:spMkLst>
            <pc:docMk/>
            <pc:sldMk cId="3715377214" sldId="329"/>
            <ac:spMk id="12" creationId="{12F1E2FD-3258-7C84-3830-E49C37E14741}"/>
          </ac:spMkLst>
        </pc:spChg>
        <pc:spChg chg="add del">
          <ac:chgData name="Dan Harrington" userId="18242eab-60a8-4793-9a10-805857572d11" providerId="ADAL" clId="{C66DC3C0-0771-443E-8162-5388A87AE7A0}" dt="2023-12-19T15:24:36.349" v="3" actId="478"/>
          <ac:spMkLst>
            <pc:docMk/>
            <pc:sldMk cId="3715377214" sldId="329"/>
            <ac:spMk id="14" creationId="{04401408-DFBC-6FEE-98C4-60F222674631}"/>
          </ac:spMkLst>
        </pc:spChg>
        <pc:spChg chg="add del">
          <ac:chgData name="Dan Harrington" userId="18242eab-60a8-4793-9a10-805857572d11" providerId="ADAL" clId="{C66DC3C0-0771-443E-8162-5388A87AE7A0}" dt="2023-12-19T15:24:36.349" v="3" actId="478"/>
          <ac:spMkLst>
            <pc:docMk/>
            <pc:sldMk cId="3715377214" sldId="329"/>
            <ac:spMk id="15" creationId="{75D2E2C3-9EA4-1943-A0A9-5ED0B98E248C}"/>
          </ac:spMkLst>
        </pc:spChg>
        <pc:spChg chg="add del">
          <ac:chgData name="Dan Harrington" userId="18242eab-60a8-4793-9a10-805857572d11" providerId="ADAL" clId="{C66DC3C0-0771-443E-8162-5388A87AE7A0}" dt="2023-12-19T15:24:36.349" v="3" actId="478"/>
          <ac:spMkLst>
            <pc:docMk/>
            <pc:sldMk cId="3715377214" sldId="329"/>
            <ac:spMk id="16" creationId="{08AE0C04-3DC3-D70F-C316-38E8E9A50E2C}"/>
          </ac:spMkLst>
        </pc:spChg>
        <pc:spChg chg="add del">
          <ac:chgData name="Dan Harrington" userId="18242eab-60a8-4793-9a10-805857572d11" providerId="ADAL" clId="{C66DC3C0-0771-443E-8162-5388A87AE7A0}" dt="2023-12-19T15:24:36.349" v="3" actId="478"/>
          <ac:spMkLst>
            <pc:docMk/>
            <pc:sldMk cId="3715377214" sldId="329"/>
            <ac:spMk id="17" creationId="{66D24EE8-33F7-E0B6-A496-1B0DBDFBA133}"/>
          </ac:spMkLst>
        </pc:spChg>
        <pc:spChg chg="add del">
          <ac:chgData name="Dan Harrington" userId="18242eab-60a8-4793-9a10-805857572d11" providerId="ADAL" clId="{C66DC3C0-0771-443E-8162-5388A87AE7A0}" dt="2023-12-19T15:24:31.532" v="2" actId="478"/>
          <ac:spMkLst>
            <pc:docMk/>
            <pc:sldMk cId="3715377214" sldId="329"/>
            <ac:spMk id="19" creationId="{30650634-D504-4CB9-BEBB-70D568E219DB}"/>
          </ac:spMkLst>
        </pc:spChg>
        <pc:picChg chg="del">
          <ac:chgData name="Dan Harrington" userId="18242eab-60a8-4793-9a10-805857572d11" providerId="ADAL" clId="{C66DC3C0-0771-443E-8162-5388A87AE7A0}" dt="2023-12-19T15:24:27.244" v="0" actId="478"/>
          <ac:picMkLst>
            <pc:docMk/>
            <pc:sldMk cId="3715377214" sldId="329"/>
            <ac:picMk id="20" creationId="{97DDB40C-CB8A-E366-4819-52AC133C1DC2}"/>
          </ac:picMkLst>
        </pc:picChg>
      </pc:sldChg>
    </pc:docChg>
  </pc:docChgLst>
  <pc:docChgLst>
    <pc:chgData name="Scott Farkas" userId="9a0b927d-5f50-445c-b573-80e669c03572" providerId="ADAL" clId="{66E404DE-8FD7-4064-B002-2A0D82B89909}"/>
    <pc:docChg chg="custSel addSld delSld modSld">
      <pc:chgData name="Scott Farkas" userId="9a0b927d-5f50-445c-b573-80e669c03572" providerId="ADAL" clId="{66E404DE-8FD7-4064-B002-2A0D82B89909}" dt="2023-12-18T17:27:34.830" v="135" actId="13926"/>
      <pc:docMkLst>
        <pc:docMk/>
      </pc:docMkLst>
      <pc:sldChg chg="addSp delSp modSp mod setBg">
        <pc:chgData name="Scott Farkas" userId="9a0b927d-5f50-445c-b573-80e669c03572" providerId="ADAL" clId="{66E404DE-8FD7-4064-B002-2A0D82B89909}" dt="2023-12-18T16:41:23.050" v="126" actId="20577"/>
        <pc:sldMkLst>
          <pc:docMk/>
          <pc:sldMk cId="448232790" sldId="318"/>
        </pc:sldMkLst>
        <pc:spChg chg="mod ord">
          <ac:chgData name="Scott Farkas" userId="9a0b927d-5f50-445c-b573-80e669c03572" providerId="ADAL" clId="{66E404DE-8FD7-4064-B002-2A0D82B89909}" dt="2023-12-18T16:34:54.864" v="3" actId="26606"/>
          <ac:spMkLst>
            <pc:docMk/>
            <pc:sldMk cId="448232790" sldId="318"/>
            <ac:spMk id="2" creationId="{858D5535-5B5B-457F-83FA-4374E2CBE1FF}"/>
          </ac:spMkLst>
        </pc:spChg>
        <pc:spChg chg="mod">
          <ac:chgData name="Scott Farkas" userId="9a0b927d-5f50-445c-b573-80e669c03572" providerId="ADAL" clId="{66E404DE-8FD7-4064-B002-2A0D82B89909}" dt="2023-12-18T16:41:23.050" v="126" actId="20577"/>
          <ac:spMkLst>
            <pc:docMk/>
            <pc:sldMk cId="448232790" sldId="318"/>
            <ac:spMk id="4" creationId="{A525F79B-6494-CD9C-2A43-CC8A7CAE1F77}"/>
          </ac:spMkLst>
        </pc:spChg>
        <pc:spChg chg="ord">
          <ac:chgData name="Scott Farkas" userId="9a0b927d-5f50-445c-b573-80e669c03572" providerId="ADAL" clId="{66E404DE-8FD7-4064-B002-2A0D82B89909}" dt="2023-12-18T16:34:54.864" v="3" actId="26606"/>
          <ac:spMkLst>
            <pc:docMk/>
            <pc:sldMk cId="448232790" sldId="318"/>
            <ac:spMk id="8" creationId="{F3758A96-34D9-434F-87A7-4CCB2B2C07B5}"/>
          </ac:spMkLst>
        </pc:spChg>
        <pc:spChg chg="ord">
          <ac:chgData name="Scott Farkas" userId="9a0b927d-5f50-445c-b573-80e669c03572" providerId="ADAL" clId="{66E404DE-8FD7-4064-B002-2A0D82B89909}" dt="2023-12-18T16:34:54.864" v="3" actId="26606"/>
          <ac:spMkLst>
            <pc:docMk/>
            <pc:sldMk cId="448232790" sldId="318"/>
            <ac:spMk id="9" creationId="{74441159-E36B-40F5-B9EB-76A1EBD38F1F}"/>
          </ac:spMkLst>
        </pc:spChg>
        <pc:spChg chg="mod">
          <ac:chgData name="Scott Farkas" userId="9a0b927d-5f50-445c-b573-80e669c03572" providerId="ADAL" clId="{66E404DE-8FD7-4064-B002-2A0D82B89909}" dt="2023-12-18T16:34:54.864" v="3" actId="26606"/>
          <ac:spMkLst>
            <pc:docMk/>
            <pc:sldMk cId="448232790" sldId="318"/>
            <ac:spMk id="12" creationId="{5D4A4F0A-2227-44EC-993C-CBE03597840E}"/>
          </ac:spMkLst>
        </pc:spChg>
        <pc:spChg chg="add">
          <ac:chgData name="Scott Farkas" userId="9a0b927d-5f50-445c-b573-80e669c03572" providerId="ADAL" clId="{66E404DE-8FD7-4064-B002-2A0D82B89909}" dt="2023-12-18T16:34:54.864" v="3" actId="26606"/>
          <ac:spMkLst>
            <pc:docMk/>
            <pc:sldMk cId="448232790" sldId="318"/>
            <ac:spMk id="17" creationId="{2B97F24A-32CE-4C1C-A50D-3016B394DCFB}"/>
          </ac:spMkLst>
        </pc:spChg>
        <pc:spChg chg="add">
          <ac:chgData name="Scott Farkas" userId="9a0b927d-5f50-445c-b573-80e669c03572" providerId="ADAL" clId="{66E404DE-8FD7-4064-B002-2A0D82B89909}" dt="2023-12-18T16:34:54.864" v="3" actId="26606"/>
          <ac:spMkLst>
            <pc:docMk/>
            <pc:sldMk cId="448232790" sldId="318"/>
            <ac:spMk id="19" creationId="{CD8B4F24-440B-49E9-B85D-733523DC064B}"/>
          </ac:spMkLst>
        </pc:spChg>
        <pc:picChg chg="del">
          <ac:chgData name="Scott Farkas" userId="9a0b927d-5f50-445c-b573-80e669c03572" providerId="ADAL" clId="{66E404DE-8FD7-4064-B002-2A0D82B89909}" dt="2023-12-18T16:34:23.595" v="0" actId="478"/>
          <ac:picMkLst>
            <pc:docMk/>
            <pc:sldMk cId="448232790" sldId="318"/>
            <ac:picMk id="5" creationId="{3CE1CA61-238A-01C4-2BB0-A0EEE1E796B2}"/>
          </ac:picMkLst>
        </pc:picChg>
        <pc:picChg chg="add del mod">
          <ac:chgData name="Scott Farkas" userId="9a0b927d-5f50-445c-b573-80e669c03572" providerId="ADAL" clId="{66E404DE-8FD7-4064-B002-2A0D82B89909}" dt="2023-12-18T16:35:04.399" v="4" actId="478"/>
          <ac:picMkLst>
            <pc:docMk/>
            <pc:sldMk cId="448232790" sldId="318"/>
            <ac:picMk id="6" creationId="{734A2B63-905E-A1FF-F0C3-6FFC6AEFD4E4}"/>
          </ac:picMkLst>
        </pc:picChg>
        <pc:picChg chg="add mod">
          <ac:chgData name="Scott Farkas" userId="9a0b927d-5f50-445c-b573-80e669c03572" providerId="ADAL" clId="{66E404DE-8FD7-4064-B002-2A0D82B89909}" dt="2023-12-18T16:36:41.261" v="8" actId="1076"/>
          <ac:picMkLst>
            <pc:docMk/>
            <pc:sldMk cId="448232790" sldId="318"/>
            <ac:picMk id="10" creationId="{5CDF870B-467C-7059-9A27-33E6289FD3F3}"/>
          </ac:picMkLst>
        </pc:picChg>
      </pc:sldChg>
      <pc:sldChg chg="modSp mod">
        <pc:chgData name="Scott Farkas" userId="9a0b927d-5f50-445c-b573-80e669c03572" providerId="ADAL" clId="{66E404DE-8FD7-4064-B002-2A0D82B89909}" dt="2023-12-18T17:27:34.830" v="135" actId="13926"/>
        <pc:sldMkLst>
          <pc:docMk/>
          <pc:sldMk cId="851477485" sldId="340"/>
        </pc:sldMkLst>
        <pc:spChg chg="mod">
          <ac:chgData name="Scott Farkas" userId="9a0b927d-5f50-445c-b573-80e669c03572" providerId="ADAL" clId="{66E404DE-8FD7-4064-B002-2A0D82B89909}" dt="2023-12-18T17:27:34.830" v="135" actId="13926"/>
          <ac:spMkLst>
            <pc:docMk/>
            <pc:sldMk cId="851477485" sldId="340"/>
            <ac:spMk id="4" creationId="{A58D9A61-4065-8E2F-3748-B4809D8C9F39}"/>
          </ac:spMkLst>
        </pc:spChg>
      </pc:sldChg>
      <pc:sldChg chg="add del">
        <pc:chgData name="Scott Farkas" userId="9a0b927d-5f50-445c-b573-80e669c03572" providerId="ADAL" clId="{66E404DE-8FD7-4064-B002-2A0D82B89909}" dt="2023-12-18T17:01:06.755" v="128" actId="47"/>
        <pc:sldMkLst>
          <pc:docMk/>
          <pc:sldMk cId="2953367882" sldId="344"/>
        </pc:sldMkLst>
      </pc:sldChg>
      <pc:sldChg chg="add del replId">
        <pc:chgData name="Scott Farkas" userId="9a0b927d-5f50-445c-b573-80e669c03572" providerId="ADAL" clId="{66E404DE-8FD7-4064-B002-2A0D82B89909}" dt="2023-12-18T17:01:09.313" v="129" actId="47"/>
        <pc:sldMkLst>
          <pc:docMk/>
          <pc:sldMk cId="3365891736" sldId="3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81D3EA-593C-4824-9BCE-773226B2F0AB}"/>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a:extLst>
              <a:ext uri="{FF2B5EF4-FFF2-40B4-BE49-F238E27FC236}">
                <a16:creationId xmlns:a16="http://schemas.microsoft.com/office/drawing/2014/main" id="{92C0D21D-19B4-4BCE-A0ED-CBECD5D05409}"/>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178CA25B-9C69-49B1-9506-D7CEB0BAB650}" type="datetimeFigureOut">
              <a:rPr lang="en-US" smtClean="0"/>
              <a:t>2/21/2024</a:t>
            </a:fld>
            <a:endParaRPr lang="en-US"/>
          </a:p>
        </p:txBody>
      </p:sp>
      <p:sp>
        <p:nvSpPr>
          <p:cNvPr id="4" name="Footer Placeholder 3">
            <a:extLst>
              <a:ext uri="{FF2B5EF4-FFF2-40B4-BE49-F238E27FC236}">
                <a16:creationId xmlns:a16="http://schemas.microsoft.com/office/drawing/2014/main" id="{465DE789-C6CB-446E-A5BF-36D54B404DA9}"/>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B94976A-101C-40C7-AF6D-9C1C9CDEA9ED}"/>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EE86FA51-ACF1-4425-9645-86388BEFCA1B}" type="slidenum">
              <a:rPr lang="en-US" smtClean="0"/>
              <a:t>‹#›</a:t>
            </a:fld>
            <a:endParaRPr lang="en-US"/>
          </a:p>
        </p:txBody>
      </p:sp>
    </p:spTree>
    <p:extLst>
      <p:ext uri="{BB962C8B-B14F-4D97-AF65-F5344CB8AC3E}">
        <p14:creationId xmlns:p14="http://schemas.microsoft.com/office/powerpoint/2010/main" val="3759314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755B669-D8D8-4C46-B768-3B5E6CD45DCA}" type="datetimeFigureOut">
              <a:rPr lang="en-US" smtClean="0"/>
              <a:t>2/2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F664DAC2-CF6A-4091-A575-0FB14F7C2A15}" type="slidenum">
              <a:rPr lang="en-US" smtClean="0"/>
              <a:t>‹#›</a:t>
            </a:fld>
            <a:endParaRPr lang="en-US"/>
          </a:p>
        </p:txBody>
      </p:sp>
    </p:spTree>
    <p:extLst>
      <p:ext uri="{BB962C8B-B14F-4D97-AF65-F5344CB8AC3E}">
        <p14:creationId xmlns:p14="http://schemas.microsoft.com/office/powerpoint/2010/main" val="242733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64DAC2-CF6A-4091-A575-0FB14F7C2A15}" type="slidenum">
              <a:rPr lang="en-US" smtClean="0"/>
              <a:t>10</a:t>
            </a:fld>
            <a:endParaRPr lang="en-US"/>
          </a:p>
        </p:txBody>
      </p:sp>
    </p:spTree>
    <p:extLst>
      <p:ext uri="{BB962C8B-B14F-4D97-AF65-F5344CB8AC3E}">
        <p14:creationId xmlns:p14="http://schemas.microsoft.com/office/powerpoint/2010/main" val="662835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26535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3F64B000-018A-43EB-AFF8-8E17E097A9C5}"/>
              </a:ext>
            </a:extLst>
          </p:cNvPr>
          <p:cNvCxnSpPr>
            <a:cxnSpLocks/>
          </p:cNvCxnSpPr>
          <p:nvPr userDrawn="1"/>
        </p:nvCxnSpPr>
        <p:spPr>
          <a:xfrm flipH="1">
            <a:off x="632454" y="3474187"/>
            <a:ext cx="1312862" cy="0"/>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F786A0E-8A04-4F97-B2BA-E435971E0CC7}"/>
              </a:ext>
            </a:extLst>
          </p:cNvPr>
          <p:cNvSpPr>
            <a:spLocks noGrp="1"/>
          </p:cNvSpPr>
          <p:nvPr>
            <p:ph type="ctrTitle"/>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 name="Text Placeholder 4">
            <a:extLst>
              <a:ext uri="{FF2B5EF4-FFF2-40B4-BE49-F238E27FC236}">
                <a16:creationId xmlns:a16="http://schemas.microsoft.com/office/drawing/2014/main" id="{C3AA6099-016C-4478-9F34-BF59D9A12F4E}"/>
              </a:ext>
            </a:extLst>
          </p:cNvPr>
          <p:cNvSpPr>
            <a:spLocks noGrp="1"/>
          </p:cNvSpPr>
          <p:nvPr>
            <p:ph type="body" sz="quarter" idx="10" hasCustomPrompt="1"/>
          </p:nvPr>
        </p:nvSpPr>
        <p:spPr>
          <a:xfrm>
            <a:off x="632891" y="3794439"/>
            <a:ext cx="6813641" cy="1168400"/>
          </a:xfrm>
        </p:spPr>
        <p:txBody>
          <a:bodyPr>
            <a:noAutofit/>
          </a:bodyPr>
          <a:lstStyle>
            <a:lvl1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3058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7">
            <a:extLst>
              <a:ext uri="{FF2B5EF4-FFF2-40B4-BE49-F238E27FC236}">
                <a16:creationId xmlns:a16="http://schemas.microsoft.com/office/drawing/2014/main" id="{A068E004-CFB5-41E5-BFA9-E734AAEE6B73}"/>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898805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91418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229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29" y="4753478"/>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3043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87732F18-60C6-453B-ACD3-E0BB6A36EA3E}"/>
              </a:ext>
            </a:extLst>
          </p:cNvPr>
          <p:cNvGrpSpPr/>
          <p:nvPr userDrawn="1"/>
        </p:nvGrpSpPr>
        <p:grpSpPr>
          <a:xfrm>
            <a:off x="2926" y="841552"/>
            <a:ext cx="12180417" cy="2963021"/>
            <a:chOff x="2926" y="841552"/>
            <a:chExt cx="12180417" cy="2963021"/>
          </a:xfrm>
        </p:grpSpPr>
        <p:sp>
          <p:nvSpPr>
            <p:cNvPr id="37" name="Graphic 23">
              <a:extLst>
                <a:ext uri="{FF2B5EF4-FFF2-40B4-BE49-F238E27FC236}">
                  <a16:creationId xmlns:a16="http://schemas.microsoft.com/office/drawing/2014/main" id="{0B71CDFF-7A16-4F4D-9657-1115FA18BD7D}"/>
                </a:ext>
              </a:extLst>
            </p:cNvPr>
            <p:cNvSpPr/>
            <p:nvPr/>
          </p:nvSpPr>
          <p:spPr>
            <a:xfrm>
              <a:off x="2926" y="841552"/>
              <a:ext cx="12179198" cy="1248811"/>
            </a:xfrm>
            <a:custGeom>
              <a:avLst/>
              <a:gdLst>
                <a:gd name="connsiteX0" fmla="*/ 0 w 12179198"/>
                <a:gd name="connsiteY0" fmla="*/ 1141690 h 1248811"/>
                <a:gd name="connsiteX1" fmla="*/ 52913 w 12179198"/>
                <a:gd name="connsiteY1" fmla="*/ 1116209 h 1248811"/>
                <a:gd name="connsiteX2" fmla="*/ 1681155 w 12179198"/>
                <a:gd name="connsiteY2" fmla="*/ 1018673 h 1248811"/>
                <a:gd name="connsiteX3" fmla="*/ 2015703 w 12179198"/>
                <a:gd name="connsiteY3" fmla="*/ 1133034 h 1248811"/>
                <a:gd name="connsiteX4" fmla="*/ 3621024 w 12179198"/>
                <a:gd name="connsiteY4" fmla="*/ 1046471 h 1248811"/>
                <a:gd name="connsiteX5" fmla="*/ 3873764 w 12179198"/>
                <a:gd name="connsiteY5" fmla="*/ 928452 h 1248811"/>
                <a:gd name="connsiteX6" fmla="*/ 5481035 w 12179198"/>
                <a:gd name="connsiteY6" fmla="*/ 842499 h 1248811"/>
                <a:gd name="connsiteX7" fmla="*/ 5790225 w 12179198"/>
                <a:gd name="connsiteY7" fmla="*/ 948569 h 1248811"/>
                <a:gd name="connsiteX8" fmla="*/ 7539411 w 12179198"/>
                <a:gd name="connsiteY8" fmla="*/ 790073 h 1248811"/>
                <a:gd name="connsiteX9" fmla="*/ 7564649 w 12179198"/>
                <a:gd name="connsiteY9" fmla="*/ 775930 h 1248811"/>
                <a:gd name="connsiteX10" fmla="*/ 9381256 w 12179198"/>
                <a:gd name="connsiteY10" fmla="*/ 641818 h 1248811"/>
                <a:gd name="connsiteX11" fmla="*/ 9488180 w 12179198"/>
                <a:gd name="connsiteY11" fmla="*/ 682540 h 1248811"/>
                <a:gd name="connsiteX12" fmla="*/ 11414516 w 12179198"/>
                <a:gd name="connsiteY12" fmla="*/ 482835 h 1248811"/>
                <a:gd name="connsiteX13" fmla="*/ 11851721 w 12179198"/>
                <a:gd name="connsiteY13" fmla="*/ 202419 h 1248811"/>
                <a:gd name="connsiteX14" fmla="*/ 12179198 w 12179198"/>
                <a:gd name="connsiteY14" fmla="*/ -212 h 124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1248811">
                  <a:moveTo>
                    <a:pt x="0" y="1141690"/>
                  </a:moveTo>
                  <a:lnTo>
                    <a:pt x="52913" y="1116209"/>
                  </a:lnTo>
                  <a:cubicBezTo>
                    <a:pt x="561786" y="871113"/>
                    <a:pt x="1146662" y="836074"/>
                    <a:pt x="1681155" y="1018673"/>
                  </a:cubicBezTo>
                  <a:lnTo>
                    <a:pt x="2015703" y="1133034"/>
                  </a:lnTo>
                  <a:cubicBezTo>
                    <a:pt x="2541861" y="1312903"/>
                    <a:pt x="3117250" y="1281874"/>
                    <a:pt x="3621024" y="1046471"/>
                  </a:cubicBezTo>
                  <a:lnTo>
                    <a:pt x="3873764" y="928452"/>
                  </a:lnTo>
                  <a:cubicBezTo>
                    <a:pt x="4378184" y="692769"/>
                    <a:pt x="4954365" y="661960"/>
                    <a:pt x="5481035" y="842499"/>
                  </a:cubicBezTo>
                  <a:lnTo>
                    <a:pt x="5790225" y="948569"/>
                  </a:lnTo>
                  <a:cubicBezTo>
                    <a:pt x="6369260" y="1147165"/>
                    <a:pt x="7005499" y="1089521"/>
                    <a:pt x="7539411" y="790073"/>
                  </a:cubicBezTo>
                  <a:lnTo>
                    <a:pt x="7564649" y="775930"/>
                  </a:lnTo>
                  <a:cubicBezTo>
                    <a:pt x="8120384" y="464205"/>
                    <a:pt x="8785774" y="415084"/>
                    <a:pt x="9381256" y="641818"/>
                  </a:cubicBezTo>
                  <a:lnTo>
                    <a:pt x="9488180" y="682540"/>
                  </a:lnTo>
                  <a:cubicBezTo>
                    <a:pt x="10125626" y="925221"/>
                    <a:pt x="10840407" y="851119"/>
                    <a:pt x="11414516" y="482835"/>
                  </a:cubicBezTo>
                  <a:lnTo>
                    <a:pt x="11851721" y="202419"/>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8" name="Graphic 23">
              <a:extLst>
                <a:ext uri="{FF2B5EF4-FFF2-40B4-BE49-F238E27FC236}">
                  <a16:creationId xmlns:a16="http://schemas.microsoft.com/office/drawing/2014/main" id="{0B71CDFF-7A16-4F4D-9657-1115FA18BD7D}"/>
                </a:ext>
              </a:extLst>
            </p:cNvPr>
            <p:cNvSpPr/>
            <p:nvPr/>
          </p:nvSpPr>
          <p:spPr>
            <a:xfrm>
              <a:off x="2926" y="859231"/>
              <a:ext cx="12179808" cy="1367113"/>
            </a:xfrm>
            <a:custGeom>
              <a:avLst/>
              <a:gdLst>
                <a:gd name="connsiteX0" fmla="*/ 0 w 12179808"/>
                <a:gd name="connsiteY0" fmla="*/ 1291408 h 1367113"/>
                <a:gd name="connsiteX1" fmla="*/ 54132 w 12179808"/>
                <a:gd name="connsiteY1" fmla="*/ 1264464 h 1367113"/>
                <a:gd name="connsiteX2" fmla="*/ 1685666 w 12179808"/>
                <a:gd name="connsiteY2" fmla="*/ 1148518 h 1367113"/>
                <a:gd name="connsiteX3" fmla="*/ 2017288 w 12179808"/>
                <a:gd name="connsiteY3" fmla="*/ 1258246 h 1367113"/>
                <a:gd name="connsiteX4" fmla="*/ 3625291 w 12179808"/>
                <a:gd name="connsiteY4" fmla="*/ 1153883 h 1367113"/>
                <a:gd name="connsiteX5" fmla="*/ 3871691 w 12179808"/>
                <a:gd name="connsiteY5" fmla="*/ 1035133 h 1367113"/>
                <a:gd name="connsiteX6" fmla="*/ 5481035 w 12179808"/>
                <a:gd name="connsiteY6" fmla="*/ 930891 h 1367113"/>
                <a:gd name="connsiteX7" fmla="*/ 5788274 w 12179808"/>
                <a:gd name="connsiteY7" fmla="*/ 1032572 h 1367113"/>
                <a:gd name="connsiteX8" fmla="*/ 7537704 w 12179808"/>
                <a:gd name="connsiteY8" fmla="*/ 853228 h 1367113"/>
                <a:gd name="connsiteX9" fmla="*/ 7557942 w 12179808"/>
                <a:gd name="connsiteY9" fmla="*/ 841036 h 1367113"/>
                <a:gd name="connsiteX10" fmla="*/ 9377720 w 12179808"/>
                <a:gd name="connsiteY10" fmla="*/ 686685 h 1367113"/>
                <a:gd name="connsiteX11" fmla="*/ 9480865 w 12179808"/>
                <a:gd name="connsiteY11" fmla="*/ 724846 h 1367113"/>
                <a:gd name="connsiteX12" fmla="*/ 11410127 w 12179808"/>
                <a:gd name="connsiteY12" fmla="*/ 502952 h 1367113"/>
                <a:gd name="connsiteX13" fmla="*/ 11839895 w 12179808"/>
                <a:gd name="connsiteY13" fmla="*/ 219488 h 1367113"/>
                <a:gd name="connsiteX14" fmla="*/ 12179808 w 12179808"/>
                <a:gd name="connsiteY14" fmla="*/ -212 h 13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367113">
                  <a:moveTo>
                    <a:pt x="0" y="1291408"/>
                  </a:moveTo>
                  <a:lnTo>
                    <a:pt x="54132" y="1264464"/>
                  </a:lnTo>
                  <a:cubicBezTo>
                    <a:pt x="561482" y="1012443"/>
                    <a:pt x="1147775" y="970783"/>
                    <a:pt x="1685666" y="1148518"/>
                  </a:cubicBezTo>
                  <a:lnTo>
                    <a:pt x="2017288" y="1258246"/>
                  </a:lnTo>
                  <a:cubicBezTo>
                    <a:pt x="2546555" y="1433201"/>
                    <a:pt x="3123078" y="1395784"/>
                    <a:pt x="3625291" y="1153883"/>
                  </a:cubicBezTo>
                  <a:lnTo>
                    <a:pt x="3871691" y="1035133"/>
                  </a:lnTo>
                  <a:cubicBezTo>
                    <a:pt x="4374294" y="792877"/>
                    <a:pt x="4951379" y="755497"/>
                    <a:pt x="5481035" y="930891"/>
                  </a:cubicBezTo>
                  <a:lnTo>
                    <a:pt x="5788274" y="1032572"/>
                  </a:lnTo>
                  <a:cubicBezTo>
                    <a:pt x="6370320" y="1224925"/>
                    <a:pt x="7006791" y="1159686"/>
                    <a:pt x="7537704" y="853228"/>
                  </a:cubicBezTo>
                  <a:lnTo>
                    <a:pt x="7557942" y="841036"/>
                  </a:lnTo>
                  <a:cubicBezTo>
                    <a:pt x="8111459" y="521727"/>
                    <a:pt x="8778325" y="465169"/>
                    <a:pt x="9377720" y="686685"/>
                  </a:cubicBezTo>
                  <a:lnTo>
                    <a:pt x="9480865" y="724846"/>
                  </a:lnTo>
                  <a:cubicBezTo>
                    <a:pt x="10122627" y="962078"/>
                    <a:pt x="10838980" y="879697"/>
                    <a:pt x="11410127" y="502952"/>
                  </a:cubicBezTo>
                  <a:lnTo>
                    <a:pt x="11839895" y="2194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9" name="Graphic 23">
              <a:extLst>
                <a:ext uri="{FF2B5EF4-FFF2-40B4-BE49-F238E27FC236}">
                  <a16:creationId xmlns:a16="http://schemas.microsoft.com/office/drawing/2014/main" id="{0B71CDFF-7A16-4F4D-9657-1115FA18BD7D}"/>
                </a:ext>
              </a:extLst>
            </p:cNvPr>
            <p:cNvSpPr/>
            <p:nvPr/>
          </p:nvSpPr>
          <p:spPr>
            <a:xfrm>
              <a:off x="2926" y="874958"/>
              <a:ext cx="12179808" cy="1481837"/>
            </a:xfrm>
            <a:custGeom>
              <a:avLst/>
              <a:gdLst>
                <a:gd name="connsiteX0" fmla="*/ 0 w 12179808"/>
                <a:gd name="connsiteY0" fmla="*/ 1439907 h 1481837"/>
                <a:gd name="connsiteX1" fmla="*/ 62057 w 12179808"/>
                <a:gd name="connsiteY1" fmla="*/ 1408208 h 1481837"/>
                <a:gd name="connsiteX2" fmla="*/ 1691152 w 12179808"/>
                <a:gd name="connsiteY2" fmla="*/ 1274096 h 1481837"/>
                <a:gd name="connsiteX3" fmla="*/ 2024603 w 12179808"/>
                <a:gd name="connsiteY3" fmla="*/ 1380288 h 1481837"/>
                <a:gd name="connsiteX4" fmla="*/ 3630899 w 12179808"/>
                <a:gd name="connsiteY4" fmla="*/ 1258368 h 1481837"/>
                <a:gd name="connsiteX5" fmla="*/ 3873276 w 12179808"/>
                <a:gd name="connsiteY5" fmla="*/ 1138277 h 1481837"/>
                <a:gd name="connsiteX6" fmla="*/ 5481889 w 12179808"/>
                <a:gd name="connsiteY6" fmla="*/ 1016357 h 1481837"/>
                <a:gd name="connsiteX7" fmla="*/ 5789006 w 12179808"/>
                <a:gd name="connsiteY7" fmla="*/ 1114503 h 1481837"/>
                <a:gd name="connsiteX8" fmla="*/ 7537948 w 12179808"/>
                <a:gd name="connsiteY8" fmla="*/ 916748 h 1481837"/>
                <a:gd name="connsiteX9" fmla="*/ 7555748 w 12179808"/>
                <a:gd name="connsiteY9" fmla="*/ 906141 h 1481837"/>
                <a:gd name="connsiteX10" fmla="*/ 9373331 w 12179808"/>
                <a:gd name="connsiteY10" fmla="*/ 731552 h 1481837"/>
                <a:gd name="connsiteX11" fmla="*/ 9476354 w 12179808"/>
                <a:gd name="connsiteY11" fmla="*/ 768128 h 1481837"/>
                <a:gd name="connsiteX12" fmla="*/ 11403421 w 12179808"/>
                <a:gd name="connsiteY12" fmla="*/ 524288 h 1481837"/>
                <a:gd name="connsiteX13" fmla="*/ 11827825 w 12179808"/>
                <a:gd name="connsiteY13" fmla="*/ 237288 h 1481837"/>
                <a:gd name="connsiteX14" fmla="*/ 12179808 w 12179808"/>
                <a:gd name="connsiteY14" fmla="*/ -212 h 148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481837">
                  <a:moveTo>
                    <a:pt x="0" y="1439907"/>
                  </a:moveTo>
                  <a:lnTo>
                    <a:pt x="62057" y="1408208"/>
                  </a:lnTo>
                  <a:cubicBezTo>
                    <a:pt x="566274" y="1150835"/>
                    <a:pt x="1151634" y="1102652"/>
                    <a:pt x="1691152" y="1274096"/>
                  </a:cubicBezTo>
                  <a:lnTo>
                    <a:pt x="2024603" y="1380288"/>
                  </a:lnTo>
                  <a:cubicBezTo>
                    <a:pt x="2555602" y="1549355"/>
                    <a:pt x="3131503" y="1505646"/>
                    <a:pt x="3630899" y="1258368"/>
                  </a:cubicBezTo>
                  <a:lnTo>
                    <a:pt x="3873276" y="1138277"/>
                  </a:lnTo>
                  <a:cubicBezTo>
                    <a:pt x="4373343" y="890438"/>
                    <a:pt x="4950184" y="846718"/>
                    <a:pt x="5481889" y="1016357"/>
                  </a:cubicBezTo>
                  <a:lnTo>
                    <a:pt x="5789006" y="1114503"/>
                  </a:lnTo>
                  <a:cubicBezTo>
                    <a:pt x="6373490" y="1301174"/>
                    <a:pt x="7009900" y="1229217"/>
                    <a:pt x="7537948" y="916748"/>
                  </a:cubicBezTo>
                  <a:lnTo>
                    <a:pt x="7555748" y="906141"/>
                  </a:lnTo>
                  <a:cubicBezTo>
                    <a:pt x="8105571" y="580773"/>
                    <a:pt x="8771619" y="516802"/>
                    <a:pt x="9373331" y="731552"/>
                  </a:cubicBezTo>
                  <a:lnTo>
                    <a:pt x="9476354" y="768128"/>
                  </a:lnTo>
                  <a:cubicBezTo>
                    <a:pt x="10120908" y="998215"/>
                    <a:pt x="10836493" y="907678"/>
                    <a:pt x="11403421" y="524288"/>
                  </a:cubicBezTo>
                  <a:lnTo>
                    <a:pt x="11827825" y="2372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0" name="Graphic 23">
              <a:extLst>
                <a:ext uri="{FF2B5EF4-FFF2-40B4-BE49-F238E27FC236}">
                  <a16:creationId xmlns:a16="http://schemas.microsoft.com/office/drawing/2014/main" id="{0B71CDFF-7A16-4F4D-9657-1115FA18BD7D}"/>
                </a:ext>
              </a:extLst>
            </p:cNvPr>
            <p:cNvSpPr/>
            <p:nvPr/>
          </p:nvSpPr>
          <p:spPr>
            <a:xfrm>
              <a:off x="2926" y="890564"/>
              <a:ext cx="12179808" cy="1597956"/>
            </a:xfrm>
            <a:custGeom>
              <a:avLst/>
              <a:gdLst>
                <a:gd name="connsiteX0" fmla="*/ 0 w 12179808"/>
                <a:gd name="connsiteY0" fmla="*/ 1588771 h 1597956"/>
                <a:gd name="connsiteX1" fmla="*/ 69494 w 12179808"/>
                <a:gd name="connsiteY1" fmla="*/ 1552195 h 1597956"/>
                <a:gd name="connsiteX2" fmla="*/ 1697004 w 12179808"/>
                <a:gd name="connsiteY2" fmla="*/ 1401136 h 1597956"/>
                <a:gd name="connsiteX3" fmla="*/ 2029968 w 12179808"/>
                <a:gd name="connsiteY3" fmla="*/ 1503427 h 1597956"/>
                <a:gd name="connsiteX4" fmla="*/ 3636020 w 12179808"/>
                <a:gd name="connsiteY4" fmla="*/ 1363341 h 1597956"/>
                <a:gd name="connsiteX5" fmla="*/ 3875105 w 12179808"/>
                <a:gd name="connsiteY5" fmla="*/ 1241421 h 1597956"/>
                <a:gd name="connsiteX6" fmla="*/ 5483108 w 12179808"/>
                <a:gd name="connsiteY6" fmla="*/ 1102310 h 1597956"/>
                <a:gd name="connsiteX7" fmla="*/ 5790468 w 12179808"/>
                <a:gd name="connsiteY7" fmla="*/ 1196798 h 1597956"/>
                <a:gd name="connsiteX8" fmla="*/ 7537704 w 12179808"/>
                <a:gd name="connsiteY8" fmla="*/ 979415 h 1597956"/>
                <a:gd name="connsiteX9" fmla="*/ 7551968 w 12179808"/>
                <a:gd name="connsiteY9" fmla="*/ 970759 h 1597956"/>
                <a:gd name="connsiteX10" fmla="*/ 9368576 w 12179808"/>
                <a:gd name="connsiteY10" fmla="*/ 775687 h 1597956"/>
                <a:gd name="connsiteX11" fmla="*/ 9471111 w 12179808"/>
                <a:gd name="connsiteY11" fmla="*/ 811043 h 1597956"/>
                <a:gd name="connsiteX12" fmla="*/ 11395862 w 12179808"/>
                <a:gd name="connsiteY12" fmla="*/ 545624 h 1597956"/>
                <a:gd name="connsiteX13" fmla="*/ 11815633 w 12179808"/>
                <a:gd name="connsiteY13" fmla="*/ 254844 h 1597956"/>
                <a:gd name="connsiteX14" fmla="*/ 12179808 w 12179808"/>
                <a:gd name="connsiteY14" fmla="*/ -212 h 159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597956">
                  <a:moveTo>
                    <a:pt x="0" y="1588771"/>
                  </a:moveTo>
                  <a:lnTo>
                    <a:pt x="69494" y="1552195"/>
                  </a:lnTo>
                  <a:cubicBezTo>
                    <a:pt x="570966" y="1289579"/>
                    <a:pt x="1155766" y="1235301"/>
                    <a:pt x="1697004" y="1401136"/>
                  </a:cubicBezTo>
                  <a:lnTo>
                    <a:pt x="2029968" y="1503427"/>
                  </a:lnTo>
                  <a:cubicBezTo>
                    <a:pt x="2563222" y="1666800"/>
                    <a:pt x="3139098" y="1616569"/>
                    <a:pt x="3636020" y="1363341"/>
                  </a:cubicBezTo>
                  <a:lnTo>
                    <a:pt x="3875105" y="1241421"/>
                  </a:lnTo>
                  <a:cubicBezTo>
                    <a:pt x="4372698" y="987962"/>
                    <a:pt x="4949379" y="938060"/>
                    <a:pt x="5483108" y="1102310"/>
                  </a:cubicBezTo>
                  <a:lnTo>
                    <a:pt x="5790468" y="1196798"/>
                  </a:lnTo>
                  <a:cubicBezTo>
                    <a:pt x="6377208" y="1377106"/>
                    <a:pt x="7013034" y="1298004"/>
                    <a:pt x="7537704" y="979415"/>
                  </a:cubicBezTo>
                  <a:lnTo>
                    <a:pt x="7551968" y="970759"/>
                  </a:lnTo>
                  <a:cubicBezTo>
                    <a:pt x="8098377" y="638868"/>
                    <a:pt x="8764158" y="567386"/>
                    <a:pt x="9368576" y="775687"/>
                  </a:cubicBezTo>
                  <a:lnTo>
                    <a:pt x="9471111" y="811043"/>
                  </a:lnTo>
                  <a:cubicBezTo>
                    <a:pt x="10118360" y="1034084"/>
                    <a:pt x="10833140" y="935512"/>
                    <a:pt x="11395862" y="545624"/>
                  </a:cubicBezTo>
                  <a:lnTo>
                    <a:pt x="11815633" y="254844"/>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1" name="Graphic 23">
              <a:extLst>
                <a:ext uri="{FF2B5EF4-FFF2-40B4-BE49-F238E27FC236}">
                  <a16:creationId xmlns:a16="http://schemas.microsoft.com/office/drawing/2014/main" id="{0B71CDFF-7A16-4F4D-9657-1115FA18BD7D}"/>
                </a:ext>
              </a:extLst>
            </p:cNvPr>
            <p:cNvSpPr/>
            <p:nvPr/>
          </p:nvSpPr>
          <p:spPr>
            <a:xfrm>
              <a:off x="2926" y="906779"/>
              <a:ext cx="12179808" cy="1737482"/>
            </a:xfrm>
            <a:custGeom>
              <a:avLst/>
              <a:gdLst>
                <a:gd name="connsiteX0" fmla="*/ 0 w 12179808"/>
                <a:gd name="connsiteY0" fmla="*/ 1737270 h 1737482"/>
                <a:gd name="connsiteX1" fmla="*/ 75224 w 12179808"/>
                <a:gd name="connsiteY1" fmla="*/ 1696670 h 1737482"/>
                <a:gd name="connsiteX2" fmla="*/ 1703100 w 12179808"/>
                <a:gd name="connsiteY2" fmla="*/ 1526592 h 1737482"/>
                <a:gd name="connsiteX3" fmla="*/ 2037649 w 12179808"/>
                <a:gd name="connsiteY3" fmla="*/ 1625103 h 1737482"/>
                <a:gd name="connsiteX4" fmla="*/ 3641994 w 12179808"/>
                <a:gd name="connsiteY4" fmla="*/ 1467461 h 1737482"/>
                <a:gd name="connsiteX5" fmla="*/ 3876934 w 12179808"/>
                <a:gd name="connsiteY5" fmla="*/ 1344566 h 1737482"/>
                <a:gd name="connsiteX6" fmla="*/ 5482620 w 12179808"/>
                <a:gd name="connsiteY6" fmla="*/ 1187289 h 1737482"/>
                <a:gd name="connsiteX7" fmla="*/ 5791931 w 12179808"/>
                <a:gd name="connsiteY7" fmla="*/ 1278607 h 1737482"/>
                <a:gd name="connsiteX8" fmla="*/ 7537460 w 12179808"/>
                <a:gd name="connsiteY8" fmla="*/ 1041472 h 1737482"/>
                <a:gd name="connsiteX9" fmla="*/ 7549652 w 12179808"/>
                <a:gd name="connsiteY9" fmla="*/ 1034035 h 1737482"/>
                <a:gd name="connsiteX10" fmla="*/ 9365041 w 12179808"/>
                <a:gd name="connsiteY10" fmla="*/ 818846 h 1737482"/>
                <a:gd name="connsiteX11" fmla="*/ 9467210 w 12179808"/>
                <a:gd name="connsiteY11" fmla="*/ 852740 h 1737482"/>
                <a:gd name="connsiteX12" fmla="*/ 11389522 w 12179808"/>
                <a:gd name="connsiteY12" fmla="*/ 566350 h 1737482"/>
                <a:gd name="connsiteX13" fmla="*/ 11804050 w 12179808"/>
                <a:gd name="connsiteY13" fmla="*/ 272523 h 1737482"/>
                <a:gd name="connsiteX14" fmla="*/ 12179808 w 12179808"/>
                <a:gd name="connsiteY14" fmla="*/ -212 h 17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737482">
                  <a:moveTo>
                    <a:pt x="0" y="1737270"/>
                  </a:moveTo>
                  <a:lnTo>
                    <a:pt x="75224" y="1696670"/>
                  </a:lnTo>
                  <a:cubicBezTo>
                    <a:pt x="574199" y="1427556"/>
                    <a:pt x="1159275" y="1366426"/>
                    <a:pt x="1703100" y="1526592"/>
                  </a:cubicBezTo>
                  <a:lnTo>
                    <a:pt x="2037649" y="1625103"/>
                  </a:lnTo>
                  <a:cubicBezTo>
                    <a:pt x="2572634" y="1782661"/>
                    <a:pt x="3147913" y="1726126"/>
                    <a:pt x="3641994" y="1467461"/>
                  </a:cubicBezTo>
                  <a:lnTo>
                    <a:pt x="3876934" y="1344566"/>
                  </a:lnTo>
                  <a:cubicBezTo>
                    <a:pt x="4371454" y="1085705"/>
                    <a:pt x="4947270" y="1029305"/>
                    <a:pt x="5482620" y="1187289"/>
                  </a:cubicBezTo>
                  <a:lnTo>
                    <a:pt x="5791931" y="1278607"/>
                  </a:lnTo>
                  <a:cubicBezTo>
                    <a:pt x="6380939" y="1452513"/>
                    <a:pt x="7016204" y="1366219"/>
                    <a:pt x="7537460" y="1041472"/>
                  </a:cubicBezTo>
                  <a:lnTo>
                    <a:pt x="7549652" y="1034035"/>
                  </a:lnTo>
                  <a:cubicBezTo>
                    <a:pt x="8092623" y="695756"/>
                    <a:pt x="8758038" y="616886"/>
                    <a:pt x="9365041" y="818846"/>
                  </a:cubicBezTo>
                  <a:lnTo>
                    <a:pt x="9467210" y="852740"/>
                  </a:lnTo>
                  <a:cubicBezTo>
                    <a:pt x="10117019" y="1068941"/>
                    <a:pt x="10830958" y="962578"/>
                    <a:pt x="11389522" y="566350"/>
                  </a:cubicBezTo>
                  <a:lnTo>
                    <a:pt x="11804050" y="27252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2" name="Graphic 23">
              <a:extLst>
                <a:ext uri="{FF2B5EF4-FFF2-40B4-BE49-F238E27FC236}">
                  <a16:creationId xmlns:a16="http://schemas.microsoft.com/office/drawing/2014/main" id="{0B71CDFF-7A16-4F4D-9657-1115FA18BD7D}"/>
                </a:ext>
              </a:extLst>
            </p:cNvPr>
            <p:cNvSpPr/>
            <p:nvPr/>
          </p:nvSpPr>
          <p:spPr>
            <a:xfrm>
              <a:off x="2926" y="922019"/>
              <a:ext cx="12179808" cy="1887199"/>
            </a:xfrm>
            <a:custGeom>
              <a:avLst/>
              <a:gdLst>
                <a:gd name="connsiteX0" fmla="*/ 0 w 12179808"/>
                <a:gd name="connsiteY0" fmla="*/ 1886988 h 1887199"/>
                <a:gd name="connsiteX1" fmla="*/ 82783 w 12179808"/>
                <a:gd name="connsiteY1" fmla="*/ 1841146 h 1887199"/>
                <a:gd name="connsiteX2" fmla="*/ 1708831 w 12179808"/>
                <a:gd name="connsiteY2" fmla="*/ 1653633 h 1887199"/>
                <a:gd name="connsiteX3" fmla="*/ 2043379 w 12179808"/>
                <a:gd name="connsiteY3" fmla="*/ 1748243 h 1887199"/>
                <a:gd name="connsiteX4" fmla="*/ 3647115 w 12179808"/>
                <a:gd name="connsiteY4" fmla="*/ 1572922 h 1887199"/>
                <a:gd name="connsiteX5" fmla="*/ 3878763 w 12179808"/>
                <a:gd name="connsiteY5" fmla="*/ 1448198 h 1887199"/>
                <a:gd name="connsiteX6" fmla="*/ 5483230 w 12179808"/>
                <a:gd name="connsiteY6" fmla="*/ 1273120 h 1887199"/>
                <a:gd name="connsiteX7" fmla="*/ 5793516 w 12179808"/>
                <a:gd name="connsiteY7" fmla="*/ 1361025 h 1887199"/>
                <a:gd name="connsiteX8" fmla="*/ 7536972 w 12179808"/>
                <a:gd name="connsiteY8" fmla="*/ 1104993 h 1887199"/>
                <a:gd name="connsiteX9" fmla="*/ 7546604 w 12179808"/>
                <a:gd name="connsiteY9" fmla="*/ 1098775 h 1887199"/>
                <a:gd name="connsiteX10" fmla="*/ 9358701 w 12179808"/>
                <a:gd name="connsiteY10" fmla="*/ 863591 h 1887199"/>
                <a:gd name="connsiteX11" fmla="*/ 9462699 w 12179808"/>
                <a:gd name="connsiteY11" fmla="*/ 896875 h 1887199"/>
                <a:gd name="connsiteX12" fmla="*/ 11382085 w 12179808"/>
                <a:gd name="connsiteY12" fmla="*/ 588296 h 1887199"/>
                <a:gd name="connsiteX13" fmla="*/ 11791493 w 12179808"/>
                <a:gd name="connsiteY13" fmla="*/ 290567 h 1887199"/>
                <a:gd name="connsiteX14" fmla="*/ 12179808 w 12179808"/>
                <a:gd name="connsiteY14" fmla="*/ -212 h 188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887199">
                  <a:moveTo>
                    <a:pt x="0" y="1886988"/>
                  </a:moveTo>
                  <a:lnTo>
                    <a:pt x="82783" y="1841146"/>
                  </a:lnTo>
                  <a:cubicBezTo>
                    <a:pt x="578874" y="1566692"/>
                    <a:pt x="1163292" y="1499294"/>
                    <a:pt x="1708831" y="1653633"/>
                  </a:cubicBezTo>
                  <a:lnTo>
                    <a:pt x="2043379" y="1748243"/>
                  </a:lnTo>
                  <a:cubicBezTo>
                    <a:pt x="2580449" y="1900253"/>
                    <a:pt x="3155582" y="1837378"/>
                    <a:pt x="3647115" y="1572922"/>
                  </a:cubicBezTo>
                  <a:lnTo>
                    <a:pt x="3878763" y="1448198"/>
                  </a:lnTo>
                  <a:cubicBezTo>
                    <a:pt x="4370540" y="1183631"/>
                    <a:pt x="4945965" y="1120842"/>
                    <a:pt x="5483230" y="1273120"/>
                  </a:cubicBezTo>
                  <a:lnTo>
                    <a:pt x="5793516" y="1361025"/>
                  </a:lnTo>
                  <a:cubicBezTo>
                    <a:pt x="6384561" y="1528701"/>
                    <a:pt x="7019093" y="1435518"/>
                    <a:pt x="7536972" y="1104993"/>
                  </a:cubicBezTo>
                  <a:lnTo>
                    <a:pt x="7546604" y="1098775"/>
                  </a:lnTo>
                  <a:cubicBezTo>
                    <a:pt x="8085612" y="754814"/>
                    <a:pt x="8749747" y="668617"/>
                    <a:pt x="9358701" y="863591"/>
                  </a:cubicBezTo>
                  <a:lnTo>
                    <a:pt x="9462699" y="896875"/>
                  </a:lnTo>
                  <a:cubicBezTo>
                    <a:pt x="10115117" y="1105724"/>
                    <a:pt x="10828008" y="991119"/>
                    <a:pt x="11382085" y="588296"/>
                  </a:cubicBezTo>
                  <a:lnTo>
                    <a:pt x="11791493" y="290567"/>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3" name="Graphic 23">
              <a:extLst>
                <a:ext uri="{FF2B5EF4-FFF2-40B4-BE49-F238E27FC236}">
                  <a16:creationId xmlns:a16="http://schemas.microsoft.com/office/drawing/2014/main" id="{0B71CDFF-7A16-4F4D-9657-1115FA18BD7D}"/>
                </a:ext>
              </a:extLst>
            </p:cNvPr>
            <p:cNvSpPr/>
            <p:nvPr/>
          </p:nvSpPr>
          <p:spPr>
            <a:xfrm>
              <a:off x="2926" y="937016"/>
              <a:ext cx="12179808" cy="2037770"/>
            </a:xfrm>
            <a:custGeom>
              <a:avLst/>
              <a:gdLst>
                <a:gd name="connsiteX0" fmla="*/ 0 w 12179808"/>
                <a:gd name="connsiteY0" fmla="*/ 2037559 h 2037770"/>
                <a:gd name="connsiteX1" fmla="*/ 89123 w 12179808"/>
                <a:gd name="connsiteY1" fmla="*/ 1986840 h 2037770"/>
                <a:gd name="connsiteX2" fmla="*/ 1714195 w 12179808"/>
                <a:gd name="connsiteY2" fmla="*/ 1780917 h 2037770"/>
                <a:gd name="connsiteX3" fmla="*/ 2050694 w 12179808"/>
                <a:gd name="connsiteY3" fmla="*/ 1872723 h 2037770"/>
                <a:gd name="connsiteX4" fmla="*/ 3652845 w 12179808"/>
                <a:gd name="connsiteY4" fmla="*/ 1679724 h 2037770"/>
                <a:gd name="connsiteX5" fmla="*/ 3881445 w 12179808"/>
                <a:gd name="connsiteY5" fmla="*/ 1553414 h 2037770"/>
                <a:gd name="connsiteX6" fmla="*/ 5484571 w 12179808"/>
                <a:gd name="connsiteY6" fmla="*/ 1360659 h 2037770"/>
                <a:gd name="connsiteX7" fmla="*/ 5794614 w 12179808"/>
                <a:gd name="connsiteY7" fmla="*/ 1444906 h 2037770"/>
                <a:gd name="connsiteX8" fmla="*/ 7535510 w 12179808"/>
                <a:gd name="connsiteY8" fmla="*/ 1169123 h 2037770"/>
                <a:gd name="connsiteX9" fmla="*/ 7543556 w 12179808"/>
                <a:gd name="connsiteY9" fmla="*/ 1163880 h 2037770"/>
                <a:gd name="connsiteX10" fmla="*/ 9354921 w 12179808"/>
                <a:gd name="connsiteY10" fmla="*/ 907970 h 2037770"/>
                <a:gd name="connsiteX11" fmla="*/ 9457212 w 12179808"/>
                <a:gd name="connsiteY11" fmla="*/ 939547 h 2037770"/>
                <a:gd name="connsiteX12" fmla="*/ 11374770 w 12179808"/>
                <a:gd name="connsiteY12" fmla="*/ 610363 h 2037770"/>
                <a:gd name="connsiteX13" fmla="*/ 11779301 w 12179808"/>
                <a:gd name="connsiteY13" fmla="*/ 309343 h 2037770"/>
                <a:gd name="connsiteX14" fmla="*/ 12179808 w 12179808"/>
                <a:gd name="connsiteY14" fmla="*/ -212 h 2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037770">
                  <a:moveTo>
                    <a:pt x="0" y="2037559"/>
                  </a:moveTo>
                  <a:lnTo>
                    <a:pt x="89123" y="1986840"/>
                  </a:lnTo>
                  <a:cubicBezTo>
                    <a:pt x="582412" y="1706424"/>
                    <a:pt x="1166556" y="1632406"/>
                    <a:pt x="1714195" y="1780917"/>
                  </a:cubicBezTo>
                  <a:lnTo>
                    <a:pt x="2050694" y="1872723"/>
                  </a:lnTo>
                  <a:cubicBezTo>
                    <a:pt x="2589544" y="2018893"/>
                    <a:pt x="3164116" y="1949667"/>
                    <a:pt x="3652845" y="1679724"/>
                  </a:cubicBezTo>
                  <a:lnTo>
                    <a:pt x="3881445" y="1553414"/>
                  </a:lnTo>
                  <a:cubicBezTo>
                    <a:pt x="4370479" y="1283301"/>
                    <a:pt x="4945453" y="1214172"/>
                    <a:pt x="5484571" y="1360659"/>
                  </a:cubicBezTo>
                  <a:lnTo>
                    <a:pt x="5794614" y="1444906"/>
                  </a:lnTo>
                  <a:cubicBezTo>
                    <a:pt x="6387657" y="1605974"/>
                    <a:pt x="7021288" y="1505610"/>
                    <a:pt x="7535510" y="1169123"/>
                  </a:cubicBezTo>
                  <a:lnTo>
                    <a:pt x="7543556" y="1163880"/>
                  </a:lnTo>
                  <a:cubicBezTo>
                    <a:pt x="8079127" y="813141"/>
                    <a:pt x="8743151" y="719323"/>
                    <a:pt x="9354921" y="907970"/>
                  </a:cubicBezTo>
                  <a:lnTo>
                    <a:pt x="9457212" y="939547"/>
                  </a:lnTo>
                  <a:cubicBezTo>
                    <a:pt x="10112313" y="1141922"/>
                    <a:pt x="10824667" y="1019636"/>
                    <a:pt x="11374770" y="610363"/>
                  </a:cubicBezTo>
                  <a:lnTo>
                    <a:pt x="11779301" y="30934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4" name="Graphic 23">
              <a:extLst>
                <a:ext uri="{FF2B5EF4-FFF2-40B4-BE49-F238E27FC236}">
                  <a16:creationId xmlns:a16="http://schemas.microsoft.com/office/drawing/2014/main" id="{0B71CDFF-7A16-4F4D-9657-1115FA18BD7D}"/>
                </a:ext>
              </a:extLst>
            </p:cNvPr>
            <p:cNvSpPr/>
            <p:nvPr/>
          </p:nvSpPr>
          <p:spPr>
            <a:xfrm>
              <a:off x="2926" y="951158"/>
              <a:ext cx="12179685" cy="2189073"/>
            </a:xfrm>
            <a:custGeom>
              <a:avLst/>
              <a:gdLst>
                <a:gd name="connsiteX0" fmla="*/ 0 w 12179685"/>
                <a:gd name="connsiteY0" fmla="*/ 2188862 h 2189073"/>
                <a:gd name="connsiteX1" fmla="*/ 97536 w 12179685"/>
                <a:gd name="connsiteY1" fmla="*/ 2132169 h 2189073"/>
                <a:gd name="connsiteX2" fmla="*/ 1719316 w 12179685"/>
                <a:gd name="connsiteY2" fmla="*/ 1908568 h 2189073"/>
                <a:gd name="connsiteX3" fmla="*/ 2057278 w 12179685"/>
                <a:gd name="connsiteY3" fmla="*/ 1996106 h 2189073"/>
                <a:gd name="connsiteX4" fmla="*/ 3657234 w 12179685"/>
                <a:gd name="connsiteY4" fmla="*/ 1785428 h 2189073"/>
                <a:gd name="connsiteX5" fmla="*/ 3883152 w 12179685"/>
                <a:gd name="connsiteY5" fmla="*/ 1657169 h 2189073"/>
                <a:gd name="connsiteX6" fmla="*/ 5484206 w 12179685"/>
                <a:gd name="connsiteY6" fmla="*/ 1446613 h 2189073"/>
                <a:gd name="connsiteX7" fmla="*/ 5797296 w 12179685"/>
                <a:gd name="connsiteY7" fmla="*/ 1527933 h 2189073"/>
                <a:gd name="connsiteX8" fmla="*/ 7534656 w 12179685"/>
                <a:gd name="connsiteY8" fmla="*/ 1233009 h 2189073"/>
                <a:gd name="connsiteX9" fmla="*/ 7540996 w 12179685"/>
                <a:gd name="connsiteY9" fmla="*/ 1228620 h 2189073"/>
                <a:gd name="connsiteX10" fmla="*/ 9348703 w 12179685"/>
                <a:gd name="connsiteY10" fmla="*/ 953202 h 2189073"/>
                <a:gd name="connsiteX11" fmla="*/ 9453189 w 12179685"/>
                <a:gd name="connsiteY11" fmla="*/ 984170 h 2189073"/>
                <a:gd name="connsiteX12" fmla="*/ 11367333 w 12179685"/>
                <a:gd name="connsiteY12" fmla="*/ 632553 h 2189073"/>
                <a:gd name="connsiteX13" fmla="*/ 11767109 w 12179685"/>
                <a:gd name="connsiteY13" fmla="*/ 327753 h 2189073"/>
                <a:gd name="connsiteX14" fmla="*/ 12179686 w 12179685"/>
                <a:gd name="connsiteY14" fmla="*/ -212 h 218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685" h="2189073">
                  <a:moveTo>
                    <a:pt x="0" y="2188862"/>
                  </a:moveTo>
                  <a:lnTo>
                    <a:pt x="97536" y="2132169"/>
                  </a:lnTo>
                  <a:cubicBezTo>
                    <a:pt x="587474" y="1846632"/>
                    <a:pt x="1170392" y="1766263"/>
                    <a:pt x="1719316" y="1908568"/>
                  </a:cubicBezTo>
                  <a:lnTo>
                    <a:pt x="2057278" y="1996106"/>
                  </a:lnTo>
                  <a:cubicBezTo>
                    <a:pt x="2597713" y="2136351"/>
                    <a:pt x="3171517" y="2060785"/>
                    <a:pt x="3657234" y="1785428"/>
                  </a:cubicBezTo>
                  <a:lnTo>
                    <a:pt x="3883152" y="1657169"/>
                  </a:lnTo>
                  <a:cubicBezTo>
                    <a:pt x="4369198" y="1381581"/>
                    <a:pt x="4943442" y="1306063"/>
                    <a:pt x="5484206" y="1446613"/>
                  </a:cubicBezTo>
                  <a:lnTo>
                    <a:pt x="5797296" y="1527933"/>
                  </a:lnTo>
                  <a:cubicBezTo>
                    <a:pt x="6391961" y="1682321"/>
                    <a:pt x="7024250" y="1574982"/>
                    <a:pt x="7534656" y="1233009"/>
                  </a:cubicBezTo>
                  <a:lnTo>
                    <a:pt x="7540996" y="1228620"/>
                  </a:lnTo>
                  <a:cubicBezTo>
                    <a:pt x="8072555" y="872369"/>
                    <a:pt x="8735178" y="771419"/>
                    <a:pt x="9348703" y="953202"/>
                  </a:cubicBezTo>
                  <a:lnTo>
                    <a:pt x="9453189" y="984170"/>
                  </a:lnTo>
                  <a:cubicBezTo>
                    <a:pt x="10110801" y="1178974"/>
                    <a:pt x="10821887" y="1048349"/>
                    <a:pt x="11367333" y="632553"/>
                  </a:cubicBezTo>
                  <a:lnTo>
                    <a:pt x="11767109" y="327753"/>
                  </a:lnTo>
                  <a:lnTo>
                    <a:pt x="12179686"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5" name="Graphic 23">
              <a:extLst>
                <a:ext uri="{FF2B5EF4-FFF2-40B4-BE49-F238E27FC236}">
                  <a16:creationId xmlns:a16="http://schemas.microsoft.com/office/drawing/2014/main" id="{0B71CDFF-7A16-4F4D-9657-1115FA18BD7D}"/>
                </a:ext>
              </a:extLst>
            </p:cNvPr>
            <p:cNvSpPr/>
            <p:nvPr/>
          </p:nvSpPr>
          <p:spPr>
            <a:xfrm>
              <a:off x="2926" y="966155"/>
              <a:ext cx="12180295" cy="2339888"/>
            </a:xfrm>
            <a:custGeom>
              <a:avLst/>
              <a:gdLst>
                <a:gd name="connsiteX0" fmla="*/ 0 w 12180295"/>
                <a:gd name="connsiteY0" fmla="*/ 2339677 h 2339888"/>
                <a:gd name="connsiteX1" fmla="*/ 104973 w 12180295"/>
                <a:gd name="connsiteY1" fmla="*/ 2276888 h 2339888"/>
                <a:gd name="connsiteX2" fmla="*/ 1725168 w 12180295"/>
                <a:gd name="connsiteY2" fmla="*/ 2035730 h 2339888"/>
                <a:gd name="connsiteX3" fmla="*/ 2064349 w 12180295"/>
                <a:gd name="connsiteY3" fmla="*/ 2119733 h 2339888"/>
                <a:gd name="connsiteX4" fmla="*/ 3663696 w 12180295"/>
                <a:gd name="connsiteY4" fmla="*/ 1890767 h 2339888"/>
                <a:gd name="connsiteX5" fmla="*/ 3885468 w 12180295"/>
                <a:gd name="connsiteY5" fmla="*/ 1761654 h 2339888"/>
                <a:gd name="connsiteX6" fmla="*/ 5486278 w 12180295"/>
                <a:gd name="connsiteY6" fmla="*/ 1533054 h 2339888"/>
                <a:gd name="connsiteX7" fmla="*/ 5798759 w 12180295"/>
                <a:gd name="connsiteY7" fmla="*/ 1610717 h 2339888"/>
                <a:gd name="connsiteX8" fmla="*/ 7535143 w 12180295"/>
                <a:gd name="connsiteY8" fmla="*/ 1296285 h 2339888"/>
                <a:gd name="connsiteX9" fmla="*/ 7539289 w 12180295"/>
                <a:gd name="connsiteY9" fmla="*/ 1293481 h 2339888"/>
                <a:gd name="connsiteX10" fmla="*/ 9345168 w 12180295"/>
                <a:gd name="connsiteY10" fmla="*/ 997581 h 2339888"/>
                <a:gd name="connsiteX11" fmla="*/ 9449897 w 12180295"/>
                <a:gd name="connsiteY11" fmla="*/ 1027451 h 2339888"/>
                <a:gd name="connsiteX12" fmla="*/ 11360871 w 12180295"/>
                <a:gd name="connsiteY12" fmla="*/ 654620 h 2339888"/>
                <a:gd name="connsiteX13" fmla="*/ 11755648 w 12180295"/>
                <a:gd name="connsiteY13" fmla="*/ 346650 h 2339888"/>
                <a:gd name="connsiteX14" fmla="*/ 12180295 w 12180295"/>
                <a:gd name="connsiteY14" fmla="*/ -212 h 23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0295" h="2339888">
                  <a:moveTo>
                    <a:pt x="0" y="2339677"/>
                  </a:moveTo>
                  <a:lnTo>
                    <a:pt x="104973" y="2276888"/>
                  </a:lnTo>
                  <a:cubicBezTo>
                    <a:pt x="592055" y="1985853"/>
                    <a:pt x="1174439" y="1899167"/>
                    <a:pt x="1725168" y="2035730"/>
                  </a:cubicBezTo>
                  <a:lnTo>
                    <a:pt x="2064349" y="2119733"/>
                  </a:lnTo>
                  <a:cubicBezTo>
                    <a:pt x="2606954" y="2254284"/>
                    <a:pt x="3180637" y="2172159"/>
                    <a:pt x="3663696" y="1890767"/>
                  </a:cubicBezTo>
                  <a:lnTo>
                    <a:pt x="3885468" y="1761654"/>
                  </a:lnTo>
                  <a:cubicBezTo>
                    <a:pt x="4368979" y="1480006"/>
                    <a:pt x="4943258" y="1397991"/>
                    <a:pt x="5486278" y="1533054"/>
                  </a:cubicBezTo>
                  <a:lnTo>
                    <a:pt x="5798759" y="1610717"/>
                  </a:lnTo>
                  <a:cubicBezTo>
                    <a:pt x="6395886" y="1759215"/>
                    <a:pt x="7028018" y="1644745"/>
                    <a:pt x="7535143" y="1296285"/>
                  </a:cubicBezTo>
                  <a:lnTo>
                    <a:pt x="7539289" y="1293481"/>
                  </a:lnTo>
                  <a:cubicBezTo>
                    <a:pt x="8067130" y="930793"/>
                    <a:pt x="8729179" y="822321"/>
                    <a:pt x="9345168" y="997581"/>
                  </a:cubicBezTo>
                  <a:lnTo>
                    <a:pt x="9449897" y="1027451"/>
                  </a:lnTo>
                  <a:cubicBezTo>
                    <a:pt x="10109887" y="1215233"/>
                    <a:pt x="10819863" y="1076720"/>
                    <a:pt x="11360871" y="654620"/>
                  </a:cubicBezTo>
                  <a:lnTo>
                    <a:pt x="11755648" y="346650"/>
                  </a:lnTo>
                  <a:lnTo>
                    <a:pt x="12180295"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6" name="Graphic 23">
              <a:extLst>
                <a:ext uri="{FF2B5EF4-FFF2-40B4-BE49-F238E27FC236}">
                  <a16:creationId xmlns:a16="http://schemas.microsoft.com/office/drawing/2014/main" id="{0B71CDFF-7A16-4F4D-9657-1115FA18BD7D}"/>
                </a:ext>
              </a:extLst>
            </p:cNvPr>
            <p:cNvSpPr/>
            <p:nvPr/>
          </p:nvSpPr>
          <p:spPr>
            <a:xfrm>
              <a:off x="2926" y="980785"/>
              <a:ext cx="12179198" cy="2490947"/>
            </a:xfrm>
            <a:custGeom>
              <a:avLst/>
              <a:gdLst>
                <a:gd name="connsiteX0" fmla="*/ 0 w 12179198"/>
                <a:gd name="connsiteY0" fmla="*/ 2490735 h 2490947"/>
                <a:gd name="connsiteX1" fmla="*/ 112166 w 12179198"/>
                <a:gd name="connsiteY1" fmla="*/ 2421973 h 2490947"/>
                <a:gd name="connsiteX2" fmla="*/ 1729191 w 12179198"/>
                <a:gd name="connsiteY2" fmla="*/ 2162771 h 2490947"/>
                <a:gd name="connsiteX3" fmla="*/ 2071664 w 12179198"/>
                <a:gd name="connsiteY3" fmla="*/ 2243482 h 2490947"/>
                <a:gd name="connsiteX4" fmla="*/ 3666866 w 12179198"/>
                <a:gd name="connsiteY4" fmla="*/ 1997325 h 2490947"/>
                <a:gd name="connsiteX5" fmla="*/ 3888394 w 12179198"/>
                <a:gd name="connsiteY5" fmla="*/ 1865530 h 2490947"/>
                <a:gd name="connsiteX6" fmla="*/ 5485546 w 12179198"/>
                <a:gd name="connsiteY6" fmla="*/ 1619739 h 2490947"/>
                <a:gd name="connsiteX7" fmla="*/ 5800466 w 12179198"/>
                <a:gd name="connsiteY7" fmla="*/ 1694842 h 2490947"/>
                <a:gd name="connsiteX8" fmla="*/ 7533315 w 12179198"/>
                <a:gd name="connsiteY8" fmla="*/ 1360537 h 2490947"/>
                <a:gd name="connsiteX9" fmla="*/ 7535510 w 12179198"/>
                <a:gd name="connsiteY9" fmla="*/ 1359074 h 2490947"/>
                <a:gd name="connsiteX10" fmla="*/ 9339316 w 12179198"/>
                <a:gd name="connsiteY10" fmla="*/ 1042813 h 2490947"/>
                <a:gd name="connsiteX11" fmla="*/ 9444654 w 12179198"/>
                <a:gd name="connsiteY11" fmla="*/ 1071587 h 2490947"/>
                <a:gd name="connsiteX12" fmla="*/ 11352215 w 12179198"/>
                <a:gd name="connsiteY12" fmla="*/ 677541 h 2490947"/>
                <a:gd name="connsiteX13" fmla="*/ 11742359 w 12179198"/>
                <a:gd name="connsiteY13" fmla="*/ 365548 h 2490947"/>
                <a:gd name="connsiteX14" fmla="*/ 12179198 w 12179198"/>
                <a:gd name="connsiteY14" fmla="*/ -212 h 24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2490947">
                  <a:moveTo>
                    <a:pt x="0" y="2490735"/>
                  </a:moveTo>
                  <a:lnTo>
                    <a:pt x="112166" y="2421973"/>
                  </a:lnTo>
                  <a:cubicBezTo>
                    <a:pt x="595876" y="2125646"/>
                    <a:pt x="1177095" y="2032475"/>
                    <a:pt x="1729191" y="2162771"/>
                  </a:cubicBezTo>
                  <a:lnTo>
                    <a:pt x="2071664" y="2243482"/>
                  </a:lnTo>
                  <a:cubicBezTo>
                    <a:pt x="2615184" y="2371741"/>
                    <a:pt x="3187293" y="2283459"/>
                    <a:pt x="3666866" y="1997325"/>
                  </a:cubicBezTo>
                  <a:lnTo>
                    <a:pt x="3888394" y="1865530"/>
                  </a:lnTo>
                  <a:cubicBezTo>
                    <a:pt x="4368552" y="1578993"/>
                    <a:pt x="4941454" y="1490821"/>
                    <a:pt x="5485546" y="1619739"/>
                  </a:cubicBezTo>
                  <a:lnTo>
                    <a:pt x="5800466" y="1694842"/>
                  </a:lnTo>
                  <a:cubicBezTo>
                    <a:pt x="6399312" y="1836525"/>
                    <a:pt x="7030151" y="1714824"/>
                    <a:pt x="7533315" y="1360537"/>
                  </a:cubicBezTo>
                  <a:lnTo>
                    <a:pt x="7535510" y="1359074"/>
                  </a:lnTo>
                  <a:cubicBezTo>
                    <a:pt x="8059571" y="990034"/>
                    <a:pt x="8720962" y="874076"/>
                    <a:pt x="9339316" y="1042813"/>
                  </a:cubicBezTo>
                  <a:lnTo>
                    <a:pt x="9444654" y="1071587"/>
                  </a:lnTo>
                  <a:cubicBezTo>
                    <a:pt x="10106948" y="1252394"/>
                    <a:pt x="10815767" y="1105968"/>
                    <a:pt x="11352215" y="677541"/>
                  </a:cubicBezTo>
                  <a:lnTo>
                    <a:pt x="11742359" y="365548"/>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7" name="Graphic 23">
              <a:extLst>
                <a:ext uri="{FF2B5EF4-FFF2-40B4-BE49-F238E27FC236}">
                  <a16:creationId xmlns:a16="http://schemas.microsoft.com/office/drawing/2014/main" id="{0B71CDFF-7A16-4F4D-9657-1115FA18BD7D}"/>
                </a:ext>
              </a:extLst>
            </p:cNvPr>
            <p:cNvSpPr/>
            <p:nvPr/>
          </p:nvSpPr>
          <p:spPr>
            <a:xfrm>
              <a:off x="2926" y="993343"/>
              <a:ext cx="12179808" cy="2644932"/>
            </a:xfrm>
            <a:custGeom>
              <a:avLst/>
              <a:gdLst>
                <a:gd name="connsiteX0" fmla="*/ 0 w 12179808"/>
                <a:gd name="connsiteY0" fmla="*/ 2644720 h 2644932"/>
                <a:gd name="connsiteX1" fmla="*/ 119116 w 12179808"/>
                <a:gd name="connsiteY1" fmla="*/ 2569740 h 2644932"/>
                <a:gd name="connsiteX2" fmla="*/ 1736019 w 12179808"/>
                <a:gd name="connsiteY2" fmla="*/ 2291884 h 2644932"/>
                <a:gd name="connsiteX3" fmla="*/ 2077395 w 12179808"/>
                <a:gd name="connsiteY3" fmla="*/ 2368815 h 2644932"/>
                <a:gd name="connsiteX4" fmla="*/ 3672718 w 12179808"/>
                <a:gd name="connsiteY4" fmla="*/ 2104615 h 2644932"/>
                <a:gd name="connsiteX5" fmla="*/ 3888882 w 12179808"/>
                <a:gd name="connsiteY5" fmla="*/ 1972088 h 2644932"/>
                <a:gd name="connsiteX6" fmla="*/ 5485059 w 12179808"/>
                <a:gd name="connsiteY6" fmla="*/ 1708131 h 2644932"/>
                <a:gd name="connsiteX7" fmla="*/ 5802051 w 12179808"/>
                <a:gd name="connsiteY7" fmla="*/ 1779576 h 2644932"/>
                <a:gd name="connsiteX8" fmla="*/ 7532462 w 12179808"/>
                <a:gd name="connsiteY8" fmla="*/ 1426008 h 2644932"/>
                <a:gd name="connsiteX9" fmla="*/ 7533680 w 12179808"/>
                <a:gd name="connsiteY9" fmla="*/ 1425033 h 2644932"/>
                <a:gd name="connsiteX10" fmla="*/ 9334195 w 12179808"/>
                <a:gd name="connsiteY10" fmla="*/ 1089265 h 2644932"/>
                <a:gd name="connsiteX11" fmla="*/ 9440875 w 12179808"/>
                <a:gd name="connsiteY11" fmla="*/ 1117063 h 2644932"/>
                <a:gd name="connsiteX12" fmla="*/ 11344656 w 12179808"/>
                <a:gd name="connsiteY12" fmla="*/ 701072 h 2644932"/>
                <a:gd name="connsiteX13" fmla="*/ 11730776 w 12179808"/>
                <a:gd name="connsiteY13" fmla="*/ 385299 h 2644932"/>
                <a:gd name="connsiteX14" fmla="*/ 12179808 w 12179808"/>
                <a:gd name="connsiteY14" fmla="*/ -212 h 26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644932">
                  <a:moveTo>
                    <a:pt x="0" y="2644720"/>
                  </a:moveTo>
                  <a:lnTo>
                    <a:pt x="119116" y="2569740"/>
                  </a:lnTo>
                  <a:cubicBezTo>
                    <a:pt x="600168" y="2267037"/>
                    <a:pt x="1181512" y="2167135"/>
                    <a:pt x="1736019" y="2291884"/>
                  </a:cubicBezTo>
                  <a:lnTo>
                    <a:pt x="2077395" y="2368815"/>
                  </a:lnTo>
                  <a:cubicBezTo>
                    <a:pt x="2623291" y="2491686"/>
                    <a:pt x="3195572" y="2396906"/>
                    <a:pt x="3672718" y="2104615"/>
                  </a:cubicBezTo>
                  <a:lnTo>
                    <a:pt x="3888882" y="1972088"/>
                  </a:lnTo>
                  <a:cubicBezTo>
                    <a:pt x="4366260" y="1679565"/>
                    <a:pt x="4938931" y="1584870"/>
                    <a:pt x="5485059" y="1708131"/>
                  </a:cubicBezTo>
                  <a:lnTo>
                    <a:pt x="5802051" y="1779576"/>
                  </a:lnTo>
                  <a:cubicBezTo>
                    <a:pt x="6402872" y="1914968"/>
                    <a:pt x="7032907" y="1786233"/>
                    <a:pt x="7532462" y="1426008"/>
                  </a:cubicBezTo>
                  <a:lnTo>
                    <a:pt x="7533680" y="1425033"/>
                  </a:lnTo>
                  <a:cubicBezTo>
                    <a:pt x="8053767" y="1050263"/>
                    <a:pt x="8713976" y="927136"/>
                    <a:pt x="9334195" y="1089265"/>
                  </a:cubicBezTo>
                  <a:lnTo>
                    <a:pt x="9440875" y="1117063"/>
                  </a:lnTo>
                  <a:cubicBezTo>
                    <a:pt x="10105485" y="1290531"/>
                    <a:pt x="10812975" y="1135936"/>
                    <a:pt x="11344656" y="701072"/>
                  </a:cubicBezTo>
                  <a:lnTo>
                    <a:pt x="11730776" y="385299"/>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8" name="Graphic 23">
              <a:extLst>
                <a:ext uri="{FF2B5EF4-FFF2-40B4-BE49-F238E27FC236}">
                  <a16:creationId xmlns:a16="http://schemas.microsoft.com/office/drawing/2014/main" id="{0B71CDFF-7A16-4F4D-9657-1115FA18BD7D}"/>
                </a:ext>
              </a:extLst>
            </p:cNvPr>
            <p:cNvSpPr/>
            <p:nvPr/>
          </p:nvSpPr>
          <p:spPr>
            <a:xfrm>
              <a:off x="2926" y="1007607"/>
              <a:ext cx="12180417" cy="2796966"/>
            </a:xfrm>
            <a:custGeom>
              <a:avLst/>
              <a:gdLst>
                <a:gd name="connsiteX0" fmla="*/ 0 w 12180417"/>
                <a:gd name="connsiteY0" fmla="*/ 2796755 h 2796966"/>
                <a:gd name="connsiteX1" fmla="*/ 126553 w 12180417"/>
                <a:gd name="connsiteY1" fmla="*/ 2715190 h 2796966"/>
                <a:gd name="connsiteX2" fmla="*/ 1740164 w 12180417"/>
                <a:gd name="connsiteY2" fmla="*/ 2419534 h 2796966"/>
                <a:gd name="connsiteX3" fmla="*/ 2085198 w 12180417"/>
                <a:gd name="connsiteY3" fmla="*/ 2492686 h 2796966"/>
                <a:gd name="connsiteX4" fmla="*/ 3676985 w 12180417"/>
                <a:gd name="connsiteY4" fmla="*/ 2210929 h 2796966"/>
                <a:gd name="connsiteX5" fmla="*/ 3892174 w 12180417"/>
                <a:gd name="connsiteY5" fmla="*/ 2075842 h 2796966"/>
                <a:gd name="connsiteX6" fmla="*/ 5485668 w 12180417"/>
                <a:gd name="connsiteY6" fmla="*/ 1794450 h 2796966"/>
                <a:gd name="connsiteX7" fmla="*/ 5803758 w 12180417"/>
                <a:gd name="connsiteY7" fmla="*/ 1863091 h 2796966"/>
                <a:gd name="connsiteX8" fmla="*/ 7530876 w 12180417"/>
                <a:gd name="connsiteY8" fmla="*/ 1490626 h 2796966"/>
                <a:gd name="connsiteX9" fmla="*/ 9328587 w 12180417"/>
                <a:gd name="connsiteY9" fmla="*/ 1134497 h 2796966"/>
                <a:gd name="connsiteX10" fmla="*/ 9436486 w 12180417"/>
                <a:gd name="connsiteY10" fmla="*/ 1161442 h 2796966"/>
                <a:gd name="connsiteX11" fmla="*/ 11338438 w 12180417"/>
                <a:gd name="connsiteY11" fmla="*/ 723871 h 2796966"/>
                <a:gd name="connsiteX12" fmla="*/ 11719438 w 12180417"/>
                <a:gd name="connsiteY12" fmla="*/ 404806 h 2796966"/>
                <a:gd name="connsiteX13" fmla="*/ 12180417 w 12180417"/>
                <a:gd name="connsiteY13" fmla="*/ -212 h 279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0417" h="2796966">
                  <a:moveTo>
                    <a:pt x="0" y="2796755"/>
                  </a:moveTo>
                  <a:lnTo>
                    <a:pt x="126553" y="2715190"/>
                  </a:lnTo>
                  <a:cubicBezTo>
                    <a:pt x="604190" y="2407208"/>
                    <a:pt x="1184359" y="2300894"/>
                    <a:pt x="1740164" y="2419534"/>
                  </a:cubicBezTo>
                  <a:lnTo>
                    <a:pt x="2085198" y="2492686"/>
                  </a:lnTo>
                  <a:cubicBezTo>
                    <a:pt x="2632240" y="2609498"/>
                    <a:pt x="3203277" y="2508414"/>
                    <a:pt x="3676985" y="2210929"/>
                  </a:cubicBezTo>
                  <a:lnTo>
                    <a:pt x="3892174" y="2075842"/>
                  </a:lnTo>
                  <a:cubicBezTo>
                    <a:pt x="4366431" y="1778113"/>
                    <a:pt x="4938126" y="1677163"/>
                    <a:pt x="5485668" y="1794450"/>
                  </a:cubicBezTo>
                  <a:lnTo>
                    <a:pt x="5803758" y="1863091"/>
                  </a:lnTo>
                  <a:cubicBezTo>
                    <a:pt x="6406237" y="1992095"/>
                    <a:pt x="7035113" y="1856471"/>
                    <a:pt x="7530876" y="1490626"/>
                  </a:cubicBezTo>
                  <a:cubicBezTo>
                    <a:pt x="8046928" y="1109565"/>
                    <a:pt x="8706234" y="978952"/>
                    <a:pt x="9328587" y="1134497"/>
                  </a:cubicBezTo>
                  <a:lnTo>
                    <a:pt x="9436486" y="1161442"/>
                  </a:lnTo>
                  <a:cubicBezTo>
                    <a:pt x="10103961" y="1328314"/>
                    <a:pt x="10810988" y="1165660"/>
                    <a:pt x="11338438" y="723871"/>
                  </a:cubicBezTo>
                  <a:lnTo>
                    <a:pt x="11719438" y="404806"/>
                  </a:lnTo>
                  <a:lnTo>
                    <a:pt x="12180417"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grpSp>
      <p:sp>
        <p:nvSpPr>
          <p:cNvPr id="36" name="Content Placeholder 2">
            <a:extLst>
              <a:ext uri="{FF2B5EF4-FFF2-40B4-BE49-F238E27FC236}">
                <a16:creationId xmlns:a16="http://schemas.microsoft.com/office/drawing/2014/main" id="{08EF5FA5-9CD8-4C19-8A04-4F07040A68A8}"/>
              </a:ext>
            </a:extLst>
          </p:cNvPr>
          <p:cNvSpPr>
            <a:spLocks noGrp="1"/>
          </p:cNvSpPr>
          <p:nvPr>
            <p:ph idx="13"/>
          </p:nvPr>
        </p:nvSpPr>
        <p:spPr>
          <a:xfrm>
            <a:off x="4235017" y="3429001"/>
            <a:ext cx="6216115" cy="1692527"/>
          </a:xfrm>
        </p:spPr>
        <p:txBody>
          <a:bodyPr>
            <a:normAutofit/>
          </a:bodyPr>
          <a:lstStyle>
            <a:lvl1pPr marL="0" indent="0">
              <a:lnSpc>
                <a:spcPct val="100000"/>
              </a:lnSpc>
              <a:spcBef>
                <a:spcPts val="0"/>
              </a:spcBef>
              <a:spcAft>
                <a:spcPts val="1200"/>
              </a:spcAft>
              <a:buFontTx/>
              <a:buNone/>
              <a:defRPr sz="2000" i="1"/>
            </a:lvl1pPr>
          </a:lstStyle>
          <a:p>
            <a:pPr lvl="0"/>
            <a:r>
              <a:rPr lang="en-US"/>
              <a:t>Click to edit Master text styles</a:t>
            </a:r>
          </a:p>
        </p:txBody>
      </p:sp>
      <p:sp>
        <p:nvSpPr>
          <p:cNvPr id="50" name="Picture Placeholder 25">
            <a:extLst>
              <a:ext uri="{FF2B5EF4-FFF2-40B4-BE49-F238E27FC236}">
                <a16:creationId xmlns:a16="http://schemas.microsoft.com/office/drawing/2014/main" id="{293640D1-C937-4B4B-8009-BFD751A7000C}"/>
              </a:ext>
            </a:extLst>
          </p:cNvPr>
          <p:cNvSpPr>
            <a:spLocks noGrp="1"/>
          </p:cNvSpPr>
          <p:nvPr>
            <p:ph type="pic" sz="quarter" idx="12"/>
          </p:nvPr>
        </p:nvSpPr>
        <p:spPr>
          <a:xfrm>
            <a:off x="1546096" y="2366957"/>
            <a:ext cx="2365504" cy="2365504"/>
          </a:xfrm>
          <a:prstGeom prst="ellipse">
            <a:avLst/>
          </a:prstGeom>
          <a:ln w="101600">
            <a:solidFill>
              <a:schemeClr val="bg1"/>
            </a:solidFill>
          </a:ln>
        </p:spPr>
        <p:txBody>
          <a:bodyPr/>
          <a:lstStyle>
            <a:lvl1pPr marL="0" indent="0">
              <a:buNone/>
              <a:defRPr/>
            </a:lvl1pPr>
          </a:lstStyle>
          <a:p>
            <a:endParaRPr lang="en-US"/>
          </a:p>
        </p:txBody>
      </p:sp>
    </p:spTree>
    <p:extLst>
      <p:ext uri="{BB962C8B-B14F-4D97-AF65-F5344CB8AC3E}">
        <p14:creationId xmlns:p14="http://schemas.microsoft.com/office/powerpoint/2010/main" val="3194255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oute Slide 2">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40715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2">
            <a:extLst>
              <a:ext uri="{FF2B5EF4-FFF2-40B4-BE49-F238E27FC236}">
                <a16:creationId xmlns:a16="http://schemas.microsoft.com/office/drawing/2014/main" id="{697744E9-4068-473E-8B93-91FEDF928B8A}"/>
              </a:ext>
            </a:extLst>
          </p:cNvPr>
          <p:cNvSpPr>
            <a:spLocks noGrp="1"/>
          </p:cNvSpPr>
          <p:nvPr>
            <p:ph idx="13"/>
          </p:nvPr>
        </p:nvSpPr>
        <p:spPr>
          <a:xfrm>
            <a:off x="501217" y="1684641"/>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5" name="Content Placeholder 2">
            <a:extLst>
              <a:ext uri="{FF2B5EF4-FFF2-40B4-BE49-F238E27FC236}">
                <a16:creationId xmlns:a16="http://schemas.microsoft.com/office/drawing/2014/main" id="{D2C5F207-408A-4D6A-AEAD-C8DF2D0EDE84}"/>
              </a:ext>
            </a:extLst>
          </p:cNvPr>
          <p:cNvSpPr>
            <a:spLocks noGrp="1"/>
          </p:cNvSpPr>
          <p:nvPr>
            <p:ph idx="16"/>
          </p:nvPr>
        </p:nvSpPr>
        <p:spPr>
          <a:xfrm>
            <a:off x="4611535"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6" name="Content Placeholder 2">
            <a:extLst>
              <a:ext uri="{FF2B5EF4-FFF2-40B4-BE49-F238E27FC236}">
                <a16:creationId xmlns:a16="http://schemas.microsoft.com/office/drawing/2014/main" id="{BA864A74-113E-4A64-B740-03A0A046ED10}"/>
              </a:ext>
            </a:extLst>
          </p:cNvPr>
          <p:cNvSpPr>
            <a:spLocks noGrp="1"/>
          </p:cNvSpPr>
          <p:nvPr>
            <p:ph idx="17"/>
          </p:nvPr>
        </p:nvSpPr>
        <p:spPr>
          <a:xfrm>
            <a:off x="8459213"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7" name="Content Placeholder 2">
            <a:extLst>
              <a:ext uri="{FF2B5EF4-FFF2-40B4-BE49-F238E27FC236}">
                <a16:creationId xmlns:a16="http://schemas.microsoft.com/office/drawing/2014/main" id="{857F9CDB-E322-433B-BB26-1512B91D34F2}"/>
              </a:ext>
            </a:extLst>
          </p:cNvPr>
          <p:cNvSpPr>
            <a:spLocks noGrp="1"/>
          </p:cNvSpPr>
          <p:nvPr>
            <p:ph idx="18"/>
          </p:nvPr>
        </p:nvSpPr>
        <p:spPr>
          <a:xfrm>
            <a:off x="501217"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8" name="Content Placeholder 2">
            <a:extLst>
              <a:ext uri="{FF2B5EF4-FFF2-40B4-BE49-F238E27FC236}">
                <a16:creationId xmlns:a16="http://schemas.microsoft.com/office/drawing/2014/main" id="{66A879C3-7FA1-4DB5-8353-2E1233067B3E}"/>
              </a:ext>
            </a:extLst>
          </p:cNvPr>
          <p:cNvSpPr>
            <a:spLocks noGrp="1"/>
          </p:cNvSpPr>
          <p:nvPr>
            <p:ph idx="19"/>
          </p:nvPr>
        </p:nvSpPr>
        <p:spPr>
          <a:xfrm>
            <a:off x="4611535"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9" name="Content Placeholder 2">
            <a:extLst>
              <a:ext uri="{FF2B5EF4-FFF2-40B4-BE49-F238E27FC236}">
                <a16:creationId xmlns:a16="http://schemas.microsoft.com/office/drawing/2014/main" id="{C7F3F082-302C-423C-B17E-231F30B08A57}"/>
              </a:ext>
            </a:extLst>
          </p:cNvPr>
          <p:cNvSpPr>
            <a:spLocks noGrp="1"/>
          </p:cNvSpPr>
          <p:nvPr>
            <p:ph idx="20"/>
          </p:nvPr>
        </p:nvSpPr>
        <p:spPr>
          <a:xfrm>
            <a:off x="8459213"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Tree>
    <p:extLst>
      <p:ext uri="{BB962C8B-B14F-4D97-AF65-F5344CB8AC3E}">
        <p14:creationId xmlns:p14="http://schemas.microsoft.com/office/powerpoint/2010/main" val="1095912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8" name="Graphic 4">
            <a:extLst>
              <a:ext uri="{FF2B5EF4-FFF2-40B4-BE49-F238E27FC236}">
                <a16:creationId xmlns:a16="http://schemas.microsoft.com/office/drawing/2014/main" id="{B1DF7FF3-E5D3-C44F-AA9C-7D01866FD804}"/>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9" name="Graphic 4">
              <a:extLst>
                <a:ext uri="{FF2B5EF4-FFF2-40B4-BE49-F238E27FC236}">
                  <a16:creationId xmlns:a16="http://schemas.microsoft.com/office/drawing/2014/main" id="{E761D765-B3A9-4C4C-8BFF-EBFD1DB98EEA}"/>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A3D6670B-DD7F-8549-A0DC-11A47C8C997B}"/>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AE68B263-6F07-0C4F-9219-87D493F4ED4E}"/>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5B746AE-B4E0-9D4F-8C98-96E196B81D0C}"/>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6218911-129F-F148-B759-986D3C77C687}"/>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4D89F2EB-37F7-8A4A-993C-A38F4A9BFBFF}"/>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DE2CE19D-4A39-0043-AD9E-834C4A511CB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C41966E3-5EC8-5841-984A-CF2743803708}"/>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C98A07A4-C4CB-044F-9B20-7519146E968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4203DEF4-86B0-3E46-AB0B-0294B2B485A9}"/>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16F07C3B-7D38-2C4F-832A-831B46685B3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223571E0-89B2-7C46-B47B-14649C2936D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B5776585-8C67-BF49-ACDD-B87F1301BA35}"/>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2E0077A6-6CB9-2D41-BD73-77DD4D4F7626}"/>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11AAF689-9FAF-0E43-AF88-94048100AEFD}"/>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02E68E52-FD43-564A-8D6D-B92E771448F1}"/>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3441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6" name="Picture 2">
            <a:extLst>
              <a:ext uri="{FF2B5EF4-FFF2-40B4-BE49-F238E27FC236}">
                <a16:creationId xmlns:a16="http://schemas.microsoft.com/office/drawing/2014/main" id="{99474930-7559-F243-BD6F-736FB3B80FA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36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260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0" y="1778000"/>
            <a:ext cx="11201400" cy="4660900"/>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726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2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60230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1" y="1790701"/>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ED057C8-E566-43B1-8B63-EC342C169C9A}"/>
              </a:ext>
            </a:extLst>
          </p:cNvPr>
          <p:cNvSpPr>
            <a:spLocks noGrp="1"/>
          </p:cNvSpPr>
          <p:nvPr>
            <p:ph idx="16"/>
          </p:nvPr>
        </p:nvSpPr>
        <p:spPr>
          <a:xfrm>
            <a:off x="6184901" y="1790700"/>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233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4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48444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33263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F47F6DF-5141-4350-9C79-7B9A914FE3BC}"/>
              </a:ext>
            </a:extLst>
          </p:cNvPr>
          <p:cNvSpPr>
            <a:spLocks noGrp="1"/>
          </p:cNvSpPr>
          <p:nvPr>
            <p:ph idx="16"/>
          </p:nvPr>
        </p:nvSpPr>
        <p:spPr>
          <a:xfrm>
            <a:off x="493614" y="2826537"/>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0" name="Content Placeholder 2">
            <a:extLst>
              <a:ext uri="{FF2B5EF4-FFF2-40B4-BE49-F238E27FC236}">
                <a16:creationId xmlns:a16="http://schemas.microsoft.com/office/drawing/2014/main" id="{8CAD16B0-96B8-4039-8264-761B5446E97F}"/>
              </a:ext>
            </a:extLst>
          </p:cNvPr>
          <p:cNvSpPr>
            <a:spLocks noGrp="1"/>
          </p:cNvSpPr>
          <p:nvPr>
            <p:ph idx="17"/>
          </p:nvPr>
        </p:nvSpPr>
        <p:spPr>
          <a:xfrm>
            <a:off x="61590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1" name="Content Placeholder 2">
            <a:extLst>
              <a:ext uri="{FF2B5EF4-FFF2-40B4-BE49-F238E27FC236}">
                <a16:creationId xmlns:a16="http://schemas.microsoft.com/office/drawing/2014/main" id="{6B863BAE-6C8C-40C9-86EF-4E6DF394E289}"/>
              </a:ext>
            </a:extLst>
          </p:cNvPr>
          <p:cNvSpPr>
            <a:spLocks noGrp="1"/>
          </p:cNvSpPr>
          <p:nvPr>
            <p:ph idx="18"/>
          </p:nvPr>
        </p:nvSpPr>
        <p:spPr>
          <a:xfrm>
            <a:off x="8991717"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Tree>
    <p:extLst>
      <p:ext uri="{BB962C8B-B14F-4D97-AF65-F5344CB8AC3E}">
        <p14:creationId xmlns:p14="http://schemas.microsoft.com/office/powerpoint/2010/main" val="3885235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414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8CC1F-249E-4990-87EF-954CABE8809C}"/>
              </a:ext>
            </a:extLst>
          </p:cNvPr>
          <p:cNvGrpSpPr/>
          <p:nvPr userDrawn="1"/>
        </p:nvGrpSpPr>
        <p:grpSpPr>
          <a:xfrm>
            <a:off x="0" y="0"/>
            <a:ext cx="10059484" cy="3543300"/>
            <a:chOff x="0" y="0"/>
            <a:chExt cx="5974771" cy="2104522"/>
          </a:xfrm>
        </p:grpSpPr>
        <p:grpSp>
          <p:nvGrpSpPr>
            <p:cNvPr id="22" name="Graphic 4">
              <a:extLst>
                <a:ext uri="{FF2B5EF4-FFF2-40B4-BE49-F238E27FC236}">
                  <a16:creationId xmlns:a16="http://schemas.microsoft.com/office/drawing/2014/main" id="{8E5BA971-5FD9-41C3-AF4B-342A459325E5}"/>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23" name="Graphic 4">
                <a:extLst>
                  <a:ext uri="{FF2B5EF4-FFF2-40B4-BE49-F238E27FC236}">
                    <a16:creationId xmlns:a16="http://schemas.microsoft.com/office/drawing/2014/main" id="{F874CB06-21B8-4DCD-9103-5CB7AC322D78}"/>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67DA3C59-9EC6-40B8-A66E-F5780CD0A3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29BAC85-59A8-4B4D-9451-C0211847ABC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31ABA46A-06AC-456F-92A1-B13A8FE81D40}"/>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A8645964-ABB8-4A46-9F4E-CBF13AE96F3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5B809CDD-0722-4B93-922A-9DDE3A5FCA1E}"/>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838F49FC-D4B8-4A24-8B3A-0A525F753226}"/>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E369BBAE-E946-4086-8B02-1126B29ADD8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764E054F-3FA5-4B4E-B7B2-705BD63AAD5D}"/>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B43C4C1B-95AB-40D7-A379-18DF7346A3FC}"/>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2D2AA216-3D4C-464B-BA8B-1A67F0BD3B93}"/>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4EEE66E6-5ADE-4D63-B2CD-B1CF43C030F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D999D31C-A143-4909-B8F2-BE462D5433E1}"/>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51168CD4-F27A-4B92-BAA6-2559C5B409F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8A44519C-FDBD-4B89-B984-2B97A65523D9}"/>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1242E14-4E4A-4D26-88F4-1A22FAF31F55}"/>
                </a:ext>
              </a:extLst>
            </p:cNvPr>
            <p:cNvSpPr/>
            <p:nvPr userDrawn="1"/>
          </p:nvSpPr>
          <p:spPr>
            <a:xfrm rot="10800000">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6">
            <a:extLst>
              <a:ext uri="{FF2B5EF4-FFF2-40B4-BE49-F238E27FC236}">
                <a16:creationId xmlns:a16="http://schemas.microsoft.com/office/drawing/2014/main" id="{ACA50D37-0A16-44E1-A0F1-6DFE9C82F8C5}"/>
              </a:ext>
            </a:extLst>
          </p:cNvPr>
          <p:cNvSpPr>
            <a:spLocks noGrp="1"/>
          </p:cNvSpPr>
          <p:nvPr>
            <p:ph type="title"/>
          </p:nvPr>
        </p:nvSpPr>
        <p:spPr>
          <a:xfrm>
            <a:off x="647701" y="3138714"/>
            <a:ext cx="3095624" cy="1103312"/>
          </a:xfrm>
        </p:spPr>
        <p:txBody>
          <a:bodyPr vert="horz" lIns="0" tIns="45720" rIns="91440" bIns="45720" rtlCol="0" anchor="ctr">
            <a:noAutofit/>
          </a:bodyPr>
          <a:lstStyle>
            <a:lvl1pPr>
              <a:defRPr lang="en-US" dirty="0"/>
            </a:lvl1pPr>
          </a:lstStyle>
          <a:p>
            <a:pPr marL="0" lvl="0" algn="r">
              <a:lnSpc>
                <a:spcPct val="100000"/>
              </a:lnSpc>
            </a:pPr>
            <a:r>
              <a:rPr lang="en-US"/>
              <a:t>Click to edit Master title style</a:t>
            </a:r>
          </a:p>
        </p:txBody>
      </p:sp>
      <p:cxnSp>
        <p:nvCxnSpPr>
          <p:cNvPr id="40" name="Straight Connector 39">
            <a:extLst>
              <a:ext uri="{FF2B5EF4-FFF2-40B4-BE49-F238E27FC236}">
                <a16:creationId xmlns:a16="http://schemas.microsoft.com/office/drawing/2014/main" id="{6E4133C0-5142-44DE-ABED-BAB3E9E902B5}"/>
              </a:ext>
            </a:extLst>
          </p:cNvPr>
          <p:cNvCxnSpPr>
            <a:cxnSpLocks/>
          </p:cNvCxnSpPr>
          <p:nvPr userDrawn="1"/>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FAE2D3F2-1AAC-4779-904D-E58C4858F847}"/>
              </a:ext>
            </a:extLst>
          </p:cNvPr>
          <p:cNvSpPr>
            <a:spLocks noGrp="1"/>
          </p:cNvSpPr>
          <p:nvPr>
            <p:ph idx="1"/>
          </p:nvPr>
        </p:nvSpPr>
        <p:spPr>
          <a:xfrm>
            <a:off x="5616572" y="137341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2" name="Text Placeholder 10">
            <a:extLst>
              <a:ext uri="{FF2B5EF4-FFF2-40B4-BE49-F238E27FC236}">
                <a16:creationId xmlns:a16="http://schemas.microsoft.com/office/drawing/2014/main" id="{C8357E26-BDFA-442E-8F83-9960B9069C69}"/>
              </a:ext>
            </a:extLst>
          </p:cNvPr>
          <p:cNvSpPr>
            <a:spLocks noGrp="1"/>
          </p:cNvSpPr>
          <p:nvPr>
            <p:ph type="body" sz="quarter" idx="13" hasCustomPrompt="1"/>
          </p:nvPr>
        </p:nvSpPr>
        <p:spPr>
          <a:xfrm>
            <a:off x="4965700" y="13734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3" name="Content Placeholder 2">
            <a:extLst>
              <a:ext uri="{FF2B5EF4-FFF2-40B4-BE49-F238E27FC236}">
                <a16:creationId xmlns:a16="http://schemas.microsoft.com/office/drawing/2014/main" id="{D75145B3-A3AD-411E-B679-3CA16BE31D05}"/>
              </a:ext>
            </a:extLst>
          </p:cNvPr>
          <p:cNvSpPr>
            <a:spLocks noGrp="1"/>
          </p:cNvSpPr>
          <p:nvPr>
            <p:ph idx="14"/>
          </p:nvPr>
        </p:nvSpPr>
        <p:spPr>
          <a:xfrm>
            <a:off x="5616572" y="218113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4" name="Text Placeholder 10">
            <a:extLst>
              <a:ext uri="{FF2B5EF4-FFF2-40B4-BE49-F238E27FC236}">
                <a16:creationId xmlns:a16="http://schemas.microsoft.com/office/drawing/2014/main" id="{F05EDC3C-BF33-4E6B-ACAA-1A44EB5B0D0E}"/>
              </a:ext>
            </a:extLst>
          </p:cNvPr>
          <p:cNvSpPr>
            <a:spLocks noGrp="1"/>
          </p:cNvSpPr>
          <p:nvPr>
            <p:ph type="body" sz="quarter" idx="15" hasCustomPrompt="1"/>
          </p:nvPr>
        </p:nvSpPr>
        <p:spPr>
          <a:xfrm>
            <a:off x="4965700" y="218113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5" name="Content Placeholder 2">
            <a:extLst>
              <a:ext uri="{FF2B5EF4-FFF2-40B4-BE49-F238E27FC236}">
                <a16:creationId xmlns:a16="http://schemas.microsoft.com/office/drawing/2014/main" id="{EEE30FF8-EF5D-4103-9206-923FAEBF10BF}"/>
              </a:ext>
            </a:extLst>
          </p:cNvPr>
          <p:cNvSpPr>
            <a:spLocks noGrp="1"/>
          </p:cNvSpPr>
          <p:nvPr>
            <p:ph idx="16"/>
          </p:nvPr>
        </p:nvSpPr>
        <p:spPr>
          <a:xfrm>
            <a:off x="5616572" y="298885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6" name="Text Placeholder 10">
            <a:extLst>
              <a:ext uri="{FF2B5EF4-FFF2-40B4-BE49-F238E27FC236}">
                <a16:creationId xmlns:a16="http://schemas.microsoft.com/office/drawing/2014/main" id="{E777CF4D-C707-4EBF-ADBE-86282E3B9CDB}"/>
              </a:ext>
            </a:extLst>
          </p:cNvPr>
          <p:cNvSpPr>
            <a:spLocks noGrp="1"/>
          </p:cNvSpPr>
          <p:nvPr>
            <p:ph type="body" sz="quarter" idx="17" hasCustomPrompt="1"/>
          </p:nvPr>
        </p:nvSpPr>
        <p:spPr>
          <a:xfrm>
            <a:off x="4965700" y="298885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7" name="Content Placeholder 2">
            <a:extLst>
              <a:ext uri="{FF2B5EF4-FFF2-40B4-BE49-F238E27FC236}">
                <a16:creationId xmlns:a16="http://schemas.microsoft.com/office/drawing/2014/main" id="{068D7336-F72C-4866-843B-3ACD9F23AB0E}"/>
              </a:ext>
            </a:extLst>
          </p:cNvPr>
          <p:cNvSpPr>
            <a:spLocks noGrp="1"/>
          </p:cNvSpPr>
          <p:nvPr>
            <p:ph idx="18"/>
          </p:nvPr>
        </p:nvSpPr>
        <p:spPr>
          <a:xfrm>
            <a:off x="5616572" y="379657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8" name="Text Placeholder 10">
            <a:extLst>
              <a:ext uri="{FF2B5EF4-FFF2-40B4-BE49-F238E27FC236}">
                <a16:creationId xmlns:a16="http://schemas.microsoft.com/office/drawing/2014/main" id="{590E8E14-15CA-4448-BBE6-6F2223C936F5}"/>
              </a:ext>
            </a:extLst>
          </p:cNvPr>
          <p:cNvSpPr>
            <a:spLocks noGrp="1"/>
          </p:cNvSpPr>
          <p:nvPr>
            <p:ph type="body" sz="quarter" idx="19" hasCustomPrompt="1"/>
          </p:nvPr>
        </p:nvSpPr>
        <p:spPr>
          <a:xfrm>
            <a:off x="4965700" y="379657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9" name="Content Placeholder 2">
            <a:extLst>
              <a:ext uri="{FF2B5EF4-FFF2-40B4-BE49-F238E27FC236}">
                <a16:creationId xmlns:a16="http://schemas.microsoft.com/office/drawing/2014/main" id="{D72B40C2-5424-4252-81AE-E904B65E17F9}"/>
              </a:ext>
            </a:extLst>
          </p:cNvPr>
          <p:cNvSpPr>
            <a:spLocks noGrp="1"/>
          </p:cNvSpPr>
          <p:nvPr>
            <p:ph idx="20"/>
          </p:nvPr>
        </p:nvSpPr>
        <p:spPr>
          <a:xfrm>
            <a:off x="5616572" y="460429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0" name="Text Placeholder 10">
            <a:extLst>
              <a:ext uri="{FF2B5EF4-FFF2-40B4-BE49-F238E27FC236}">
                <a16:creationId xmlns:a16="http://schemas.microsoft.com/office/drawing/2014/main" id="{12602D7A-CBA6-4AEF-AC26-DBEF4F986888}"/>
              </a:ext>
            </a:extLst>
          </p:cNvPr>
          <p:cNvSpPr>
            <a:spLocks noGrp="1"/>
          </p:cNvSpPr>
          <p:nvPr>
            <p:ph type="body" sz="quarter" idx="21" hasCustomPrompt="1"/>
          </p:nvPr>
        </p:nvSpPr>
        <p:spPr>
          <a:xfrm>
            <a:off x="4965700" y="460429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51" name="Content Placeholder 2">
            <a:extLst>
              <a:ext uri="{FF2B5EF4-FFF2-40B4-BE49-F238E27FC236}">
                <a16:creationId xmlns:a16="http://schemas.microsoft.com/office/drawing/2014/main" id="{E35635C2-3B88-481A-8333-DA5EC7649166}"/>
              </a:ext>
            </a:extLst>
          </p:cNvPr>
          <p:cNvSpPr>
            <a:spLocks noGrp="1"/>
          </p:cNvSpPr>
          <p:nvPr>
            <p:ph idx="22"/>
          </p:nvPr>
        </p:nvSpPr>
        <p:spPr>
          <a:xfrm>
            <a:off x="5616572" y="5412014"/>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2" name="Text Placeholder 10">
            <a:extLst>
              <a:ext uri="{FF2B5EF4-FFF2-40B4-BE49-F238E27FC236}">
                <a16:creationId xmlns:a16="http://schemas.microsoft.com/office/drawing/2014/main" id="{F8D866F2-61FD-444D-AE02-AFBF7CF36D97}"/>
              </a:ext>
            </a:extLst>
          </p:cNvPr>
          <p:cNvSpPr>
            <a:spLocks noGrp="1"/>
          </p:cNvSpPr>
          <p:nvPr>
            <p:ph type="body" sz="quarter" idx="23" hasCustomPrompt="1"/>
          </p:nvPr>
        </p:nvSpPr>
        <p:spPr>
          <a:xfrm>
            <a:off x="4965700" y="54120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Tree>
    <p:extLst>
      <p:ext uri="{BB962C8B-B14F-4D97-AF65-F5344CB8AC3E}">
        <p14:creationId xmlns:p14="http://schemas.microsoft.com/office/powerpoint/2010/main" val="1603010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Image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6" name="Picture Placeholder 25">
            <a:extLst>
              <a:ext uri="{FF2B5EF4-FFF2-40B4-BE49-F238E27FC236}">
                <a16:creationId xmlns:a16="http://schemas.microsoft.com/office/drawing/2014/main" id="{6B10FC70-3ECA-4054-933C-ECEC16E478E6}"/>
              </a:ext>
            </a:extLst>
          </p:cNvPr>
          <p:cNvSpPr>
            <a:spLocks noGrp="1"/>
          </p:cNvSpPr>
          <p:nvPr>
            <p:ph type="pic" sz="quarter" idx="12"/>
          </p:nvPr>
        </p:nvSpPr>
        <p:spPr>
          <a:xfrm>
            <a:off x="4165600" y="708025"/>
            <a:ext cx="3689264" cy="5157239"/>
          </a:xfrm>
        </p:spPr>
        <p:txBody>
          <a:bodyPr/>
          <a:lstStyle>
            <a:lvl1pPr marL="0" indent="0">
              <a:buNone/>
              <a:defRPr/>
            </a:lvl1pPr>
          </a:lstStyle>
          <a:p>
            <a:endParaRPr lang="en-US"/>
          </a:p>
        </p:txBody>
      </p:sp>
      <p:sp>
        <p:nvSpPr>
          <p:cNvPr id="27" name="Picture Placeholder 25">
            <a:extLst>
              <a:ext uri="{FF2B5EF4-FFF2-40B4-BE49-F238E27FC236}">
                <a16:creationId xmlns:a16="http://schemas.microsoft.com/office/drawing/2014/main" id="{EF18F902-2A6D-4228-935E-68747A911F91}"/>
              </a:ext>
            </a:extLst>
          </p:cNvPr>
          <p:cNvSpPr>
            <a:spLocks noGrp="1"/>
          </p:cNvSpPr>
          <p:nvPr>
            <p:ph type="pic" sz="quarter" idx="13"/>
          </p:nvPr>
        </p:nvSpPr>
        <p:spPr>
          <a:xfrm>
            <a:off x="8007436" y="708025"/>
            <a:ext cx="3689264" cy="5157239"/>
          </a:xfrm>
        </p:spPr>
        <p:txBody>
          <a:bodyPr/>
          <a:lstStyle>
            <a:lvl1pPr marL="0" indent="0">
              <a:buNone/>
              <a:defRPr/>
            </a:lvl1pPr>
          </a:lstStyle>
          <a:p>
            <a:endParaRPr lang="en-US"/>
          </a:p>
        </p:txBody>
      </p:sp>
      <p:sp>
        <p:nvSpPr>
          <p:cNvPr id="24" name="Content Placeholder 2">
            <a:extLst>
              <a:ext uri="{FF2B5EF4-FFF2-40B4-BE49-F238E27FC236}">
                <a16:creationId xmlns:a16="http://schemas.microsoft.com/office/drawing/2014/main" id="{E5C2718A-BE8E-4B95-8862-251AED97DED9}"/>
              </a:ext>
            </a:extLst>
          </p:cNvPr>
          <p:cNvSpPr>
            <a:spLocks noGrp="1"/>
          </p:cNvSpPr>
          <p:nvPr>
            <p:ph idx="14"/>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39673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651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436B502D-F6FE-49AE-B50A-B25AFA370048}"/>
              </a:ext>
            </a:extLst>
          </p:cNvPr>
          <p:cNvCxnSpPr>
            <a:cxnSpLocks/>
          </p:cNvCxnSpPr>
          <p:nvPr userDrawn="1"/>
        </p:nvCxnSpPr>
        <p:spPr>
          <a:xfrm rot="5400000">
            <a:off x="3565846" y="3262413"/>
            <a:ext cx="0" cy="1312862"/>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44C8D61-E563-4260-86F4-6913BE55C365}"/>
              </a:ext>
            </a:extLst>
          </p:cNvPr>
          <p:cNvGrpSpPr/>
          <p:nvPr userDrawn="1"/>
        </p:nvGrpSpPr>
        <p:grpSpPr>
          <a:xfrm>
            <a:off x="-1" y="-7"/>
            <a:ext cx="6919434" cy="2728687"/>
            <a:chOff x="-1" y="-6"/>
            <a:chExt cx="5154401" cy="2032644"/>
          </a:xfrm>
        </p:grpSpPr>
        <p:sp>
          <p:nvSpPr>
            <p:cNvPr id="14" name="Freeform: Shape 13">
              <a:extLst>
                <a:ext uri="{FF2B5EF4-FFF2-40B4-BE49-F238E27FC236}">
                  <a16:creationId xmlns:a16="http://schemas.microsoft.com/office/drawing/2014/main" id="{0A782616-C408-4284-B54B-E715B3205448}"/>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5" name="Freeform: Shape 14">
              <a:extLst>
                <a:ext uri="{FF2B5EF4-FFF2-40B4-BE49-F238E27FC236}">
                  <a16:creationId xmlns:a16="http://schemas.microsoft.com/office/drawing/2014/main" id="{502D0FA0-1B88-4DF9-B58E-D5A68CA568D7}"/>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7" name="Freeform: Shape 16">
              <a:extLst>
                <a:ext uri="{FF2B5EF4-FFF2-40B4-BE49-F238E27FC236}">
                  <a16:creationId xmlns:a16="http://schemas.microsoft.com/office/drawing/2014/main" id="{38A41EF3-3BD7-4A13-8565-8F764CE391C2}"/>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24CA3DD8-A30C-416F-821B-61AEB1EF2875}"/>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04E4DE4E-610E-4D12-94AC-880076CB019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0" name="Freeform: Shape 19">
              <a:extLst>
                <a:ext uri="{FF2B5EF4-FFF2-40B4-BE49-F238E27FC236}">
                  <a16:creationId xmlns:a16="http://schemas.microsoft.com/office/drawing/2014/main" id="{DA09C941-5209-4E42-9944-FABD9A30811E}"/>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5214FA42-971A-4C69-9892-E382EAEC9AB2}"/>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43B5A820-3FA6-4733-9237-D489554A2D28}"/>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652B2BB4-BDEA-4FDE-8402-7C25F54F56FA}"/>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24" name="Rectangle 23">
            <a:extLst>
              <a:ext uri="{FF2B5EF4-FFF2-40B4-BE49-F238E27FC236}">
                <a16:creationId xmlns:a16="http://schemas.microsoft.com/office/drawing/2014/main" id="{6DF19C9F-C12F-B843-AED5-CBFC1554257E}"/>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a:extLst>
              <a:ext uri="{FF2B5EF4-FFF2-40B4-BE49-F238E27FC236}">
                <a16:creationId xmlns:a16="http://schemas.microsoft.com/office/drawing/2014/main" id="{1EA916E0-BA1D-7A4C-BE4E-6B02B47515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623" y="55636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909415" y="2686050"/>
            <a:ext cx="8787285" cy="1080988"/>
          </a:xfrm>
        </p:spPr>
        <p:txBody>
          <a:bodyPr vert="horz" anchor="ctr">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25" name="Slide Number Placeholder 7">
            <a:extLst>
              <a:ext uri="{FF2B5EF4-FFF2-40B4-BE49-F238E27FC236}">
                <a16:creationId xmlns:a16="http://schemas.microsoft.com/office/drawing/2014/main" id="{321CAACD-3EC3-4CFC-9AA1-E514F0165FF9}"/>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492800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 1 right chart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299" y="708025"/>
            <a:ext cx="11028217"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4" name="Content Placeholder 2">
            <a:extLst>
              <a:ext uri="{FF2B5EF4-FFF2-40B4-BE49-F238E27FC236}">
                <a16:creationId xmlns:a16="http://schemas.microsoft.com/office/drawing/2014/main" id="{E512410F-3CBF-4FD2-87EF-3E138B3C15F7}"/>
              </a:ext>
            </a:extLst>
          </p:cNvPr>
          <p:cNvSpPr>
            <a:spLocks noGrp="1"/>
          </p:cNvSpPr>
          <p:nvPr>
            <p:ph idx="1"/>
          </p:nvPr>
        </p:nvSpPr>
        <p:spPr>
          <a:xfrm>
            <a:off x="3932903" y="1426491"/>
            <a:ext cx="7590614" cy="4244748"/>
          </a:xfrm>
        </p:spPr>
        <p:txBody>
          <a:bodyPr>
            <a:normAutofit/>
          </a:bodyPr>
          <a:lstStyle>
            <a:lvl1pPr marL="457200" indent="-457200">
              <a:lnSpc>
                <a:spcPct val="100000"/>
              </a:lnSpc>
              <a:spcBef>
                <a:spcPts val="0"/>
              </a:spcBef>
              <a:spcAft>
                <a:spcPts val="1200"/>
              </a:spcAft>
              <a:buFont typeface="Arial" panose="020B0604020202020204" pitchFamily="34" charset="0"/>
              <a:buChar char="•"/>
              <a:defRPr sz="2400"/>
            </a:lvl1pPr>
          </a:lstStyle>
          <a:p>
            <a:pPr lvl="0"/>
            <a:r>
              <a:rPr lang="en-US"/>
              <a:t>Click to edit Master text styles</a:t>
            </a:r>
          </a:p>
        </p:txBody>
      </p:sp>
      <p:sp>
        <p:nvSpPr>
          <p:cNvPr id="29" name="Content Placeholder 2">
            <a:extLst>
              <a:ext uri="{FF2B5EF4-FFF2-40B4-BE49-F238E27FC236}">
                <a16:creationId xmlns:a16="http://schemas.microsoft.com/office/drawing/2014/main" id="{BCCFB011-646C-42BD-A785-B01157FD62AF}"/>
              </a:ext>
            </a:extLst>
          </p:cNvPr>
          <p:cNvSpPr>
            <a:spLocks noGrp="1"/>
          </p:cNvSpPr>
          <p:nvPr>
            <p:ph idx="13"/>
          </p:nvPr>
        </p:nvSpPr>
        <p:spPr>
          <a:xfrm>
            <a:off x="495300" y="1430338"/>
            <a:ext cx="3149600" cy="4244748"/>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1538063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30" name="Picture Placeholder 25">
            <a:extLst>
              <a:ext uri="{FF2B5EF4-FFF2-40B4-BE49-F238E27FC236}">
                <a16:creationId xmlns:a16="http://schemas.microsoft.com/office/drawing/2014/main" id="{BFF69A5C-5036-44D5-88A8-0A0F2696CADC}"/>
              </a:ext>
            </a:extLst>
          </p:cNvPr>
          <p:cNvSpPr>
            <a:spLocks noGrp="1"/>
          </p:cNvSpPr>
          <p:nvPr>
            <p:ph type="pic" sz="quarter" idx="12"/>
          </p:nvPr>
        </p:nvSpPr>
        <p:spPr>
          <a:xfrm>
            <a:off x="4165600" y="708025"/>
            <a:ext cx="7531100" cy="5527675"/>
          </a:xfrm>
        </p:spPr>
        <p:txBody>
          <a:bodyPr/>
          <a:lstStyle>
            <a:lvl1pPr marL="0" indent="0">
              <a:buNone/>
              <a:defRPr/>
            </a:lvl1pPr>
          </a:lstStyle>
          <a:p>
            <a:endParaRPr lang="en-US"/>
          </a:p>
        </p:txBody>
      </p:sp>
      <p:sp>
        <p:nvSpPr>
          <p:cNvPr id="23" name="Content Placeholder 2">
            <a:extLst>
              <a:ext uri="{FF2B5EF4-FFF2-40B4-BE49-F238E27FC236}">
                <a16:creationId xmlns:a16="http://schemas.microsoft.com/office/drawing/2014/main" id="{9973F96E-F474-4159-A0C9-F05A52727D91}"/>
              </a:ext>
            </a:extLst>
          </p:cNvPr>
          <p:cNvSpPr>
            <a:spLocks noGrp="1"/>
          </p:cNvSpPr>
          <p:nvPr>
            <p:ph idx="13"/>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972366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6D6718B-4CB8-48B1-8464-02F55E0DAC25}"/>
              </a:ext>
            </a:extLst>
          </p:cNvPr>
          <p:cNvGrpSpPr/>
          <p:nvPr userDrawn="1"/>
        </p:nvGrpSpPr>
        <p:grpSpPr>
          <a:xfrm rot="16200000" flipH="1">
            <a:off x="-1156785" y="1156787"/>
            <a:ext cx="3759200" cy="1445627"/>
            <a:chOff x="-1" y="-2544"/>
            <a:chExt cx="7102260" cy="2731224"/>
          </a:xfrm>
        </p:grpSpPr>
        <p:grpSp>
          <p:nvGrpSpPr>
            <p:cNvPr id="23" name="Group 22">
              <a:extLst>
                <a:ext uri="{FF2B5EF4-FFF2-40B4-BE49-F238E27FC236}">
                  <a16:creationId xmlns:a16="http://schemas.microsoft.com/office/drawing/2014/main" id="{C461EB29-FE8E-465A-B43C-4A7B5770ACA9}"/>
                </a:ext>
              </a:extLst>
            </p:cNvPr>
            <p:cNvGrpSpPr/>
            <p:nvPr userDrawn="1"/>
          </p:nvGrpSpPr>
          <p:grpSpPr>
            <a:xfrm>
              <a:off x="-1" y="-7"/>
              <a:ext cx="6919434" cy="2728687"/>
              <a:chOff x="-1" y="-6"/>
              <a:chExt cx="5154401" cy="2032644"/>
            </a:xfrm>
          </p:grpSpPr>
          <p:sp>
            <p:nvSpPr>
              <p:cNvPr id="25" name="Freeform: Shape 24">
                <a:extLst>
                  <a:ext uri="{FF2B5EF4-FFF2-40B4-BE49-F238E27FC236}">
                    <a16:creationId xmlns:a16="http://schemas.microsoft.com/office/drawing/2014/main" id="{53CD595D-D848-436E-95C0-C65786D452BF}"/>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FC1228A5-37FC-4844-B6EA-720C4279925D}"/>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8" name="Freeform: Shape 27">
                <a:extLst>
                  <a:ext uri="{FF2B5EF4-FFF2-40B4-BE49-F238E27FC236}">
                    <a16:creationId xmlns:a16="http://schemas.microsoft.com/office/drawing/2014/main" id="{73775329-A5E4-4BA8-996C-89E3C784B1B3}"/>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9" name="Freeform: Shape 28">
                <a:extLst>
                  <a:ext uri="{FF2B5EF4-FFF2-40B4-BE49-F238E27FC236}">
                    <a16:creationId xmlns:a16="http://schemas.microsoft.com/office/drawing/2014/main" id="{E66C5EA2-5BB2-44DC-ABB1-AAA20EFBFE4E}"/>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228C849D-BCA2-48F3-892B-9AADB7BCC28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1" name="Freeform: Shape 30">
                <a:extLst>
                  <a:ext uri="{FF2B5EF4-FFF2-40B4-BE49-F238E27FC236}">
                    <a16:creationId xmlns:a16="http://schemas.microsoft.com/office/drawing/2014/main" id="{608E33D0-A501-4402-87F3-10FCEEEF8422}"/>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2" name="Freeform: Shape 31">
                <a:extLst>
                  <a:ext uri="{FF2B5EF4-FFF2-40B4-BE49-F238E27FC236}">
                    <a16:creationId xmlns:a16="http://schemas.microsoft.com/office/drawing/2014/main" id="{8BE0982D-645A-46BD-A494-32811C974575}"/>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3" name="Freeform: Shape 32">
                <a:extLst>
                  <a:ext uri="{FF2B5EF4-FFF2-40B4-BE49-F238E27FC236}">
                    <a16:creationId xmlns:a16="http://schemas.microsoft.com/office/drawing/2014/main" id="{9A6474F5-5D73-48D8-8596-DD5E58C14DC3}"/>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33AA44CE-20D0-49CE-BE4A-E77DDC86A632}"/>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35" name="Rectangle 34">
              <a:extLst>
                <a:ext uri="{FF2B5EF4-FFF2-40B4-BE49-F238E27FC236}">
                  <a16:creationId xmlns:a16="http://schemas.microsoft.com/office/drawing/2014/main" id="{E74B9210-1829-4622-87CA-C1F8EAAFA6EC}"/>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55363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0F786A0E-8A04-4F97-B2BA-E435971E0CC7}"/>
              </a:ext>
            </a:extLst>
          </p:cNvPr>
          <p:cNvSpPr>
            <a:spLocks noGrp="1"/>
          </p:cNvSpPr>
          <p:nvPr>
            <p:ph type="ctrTitle" hasCustomPrompt="1"/>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800" b="1" kern="1200" dirty="0">
                <a:solidFill>
                  <a:srgbClr val="013061"/>
                </a:solidFill>
                <a:latin typeface="Century Gothic" panose="020B0502020202020204" pitchFamily="34" charset="0"/>
                <a:ea typeface="Verdana" panose="020B0604030504040204" pitchFamily="34" charset="0"/>
                <a:cs typeface="+mj-cs"/>
              </a:defRPr>
            </a:lvl1pPr>
          </a:lstStyle>
          <a:p>
            <a:r>
              <a:rPr lang="en-US"/>
              <a:t>Thank You Slide</a:t>
            </a:r>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4309907"/>
            <a:ext cx="3447393" cy="1071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57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55028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892882B-8DC7-4E71-BBBA-1785C3A7BF9A}"/>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aphic 4">
            <a:extLst>
              <a:ext uri="{FF2B5EF4-FFF2-40B4-BE49-F238E27FC236}">
                <a16:creationId xmlns:a16="http://schemas.microsoft.com/office/drawing/2014/main" id="{F63071A2-41B9-4559-8CC5-621F398944F3}"/>
              </a:ext>
            </a:extLst>
          </p:cNvPr>
          <p:cNvGrpSpPr/>
          <p:nvPr userDrawn="1"/>
        </p:nvGrpSpPr>
        <p:grpSpPr>
          <a:xfrm>
            <a:off x="3704181" y="-1"/>
            <a:ext cx="8487819" cy="6670716"/>
            <a:chOff x="3067050" y="1044892"/>
            <a:chExt cx="6059805" cy="4762500"/>
          </a:xfrm>
          <a:gradFill>
            <a:gsLst>
              <a:gs pos="0">
                <a:srgbClr val="99ACC0">
                  <a:alpha val="0"/>
                </a:srgbClr>
              </a:gs>
              <a:gs pos="62500">
                <a:srgbClr val="B2B2B2"/>
              </a:gs>
              <a:gs pos="100000">
                <a:srgbClr val="013061"/>
              </a:gs>
            </a:gsLst>
            <a:lin ang="5400000" scaled="0"/>
          </a:gradFill>
        </p:grpSpPr>
        <p:sp>
          <p:nvSpPr>
            <p:cNvPr id="21" name="Graphic 4">
              <a:extLst>
                <a:ext uri="{FF2B5EF4-FFF2-40B4-BE49-F238E27FC236}">
                  <a16:creationId xmlns:a16="http://schemas.microsoft.com/office/drawing/2014/main" id="{7BC8DECF-55BC-412F-892E-406A8DF7E0E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A079B6C-920C-48DD-9B5B-E877F0A63385}"/>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56C9AA23-6491-4321-84B3-E992DCB783B9}"/>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1451EEBC-F4BC-4EC0-A43A-47C589978FAB}"/>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DDF44216-FB68-4858-82E6-CD66712FF068}"/>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5E2F388C-AB18-4660-835C-636B29CD2BD3}"/>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D33E90B9-18C7-4441-B174-B0A12CA73B49}"/>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6EAA2ED5-F7F0-405E-9CE7-F583F52F543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4AE6AA9B-C358-4949-9F63-B08286CAF4A7}"/>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514358D3-C341-4DE3-BEE9-F441F85B4728}"/>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C327CB15-F5C4-46A6-A073-509ADB81465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7B5B67F4-672A-4359-9471-D8972FCF518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D7D4237-5567-4BB6-9E78-8CB12E3D1AED}"/>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93C2D72F-5352-477D-86AF-02736AC92CE2}"/>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F3450AE-C778-4632-8E99-0F0FFC9DDC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BEBEB22D-73CF-4F7D-95C0-697780F20F1F}"/>
              </a:ext>
            </a:extLst>
          </p:cNvPr>
          <p:cNvCxnSpPr>
            <a:cxnSpLocks/>
          </p:cNvCxnSpPr>
          <p:nvPr/>
        </p:nvCxnSpPr>
        <p:spPr>
          <a:xfrm>
            <a:off x="1802778" y="3670332"/>
            <a:ext cx="12827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C935614-E5CE-4E0E-9C0D-E9570EB3B2CD}"/>
              </a:ext>
            </a:extLst>
          </p:cNvPr>
          <p:cNvSpPr>
            <a:spLocks noGrp="1"/>
          </p:cNvSpPr>
          <p:nvPr>
            <p:ph type="ctrTitle" hasCustomPrompt="1"/>
          </p:nvPr>
        </p:nvSpPr>
        <p:spPr>
          <a:xfrm>
            <a:off x="1790815" y="1937175"/>
            <a:ext cx="5939420" cy="1395132"/>
          </a:xfrm>
        </p:spPr>
        <p:txBody>
          <a:bodyPr vert="horz" anchor="b">
            <a:normAutofit/>
          </a:bodyPr>
          <a:lstStyle>
            <a:lvl1pPr marL="0" algn="l" defTabSz="914400" rtl="0" eaLnBrk="1" latinLnBrk="0" hangingPunct="1">
              <a:lnSpc>
                <a:spcPct val="90000"/>
              </a:lnSpc>
              <a:spcBef>
                <a:spcPct val="0"/>
              </a:spcBef>
              <a:buNone/>
              <a:defRPr lang="en-US" sz="44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7" name="Text Placeholder 4">
            <a:extLst>
              <a:ext uri="{FF2B5EF4-FFF2-40B4-BE49-F238E27FC236}">
                <a16:creationId xmlns:a16="http://schemas.microsoft.com/office/drawing/2014/main" id="{A030280E-5EF7-4A5B-94C6-620654394475}"/>
              </a:ext>
            </a:extLst>
          </p:cNvPr>
          <p:cNvSpPr>
            <a:spLocks noGrp="1"/>
          </p:cNvSpPr>
          <p:nvPr>
            <p:ph type="body" sz="quarter" idx="10" hasCustomPrompt="1"/>
          </p:nvPr>
        </p:nvSpPr>
        <p:spPr>
          <a:xfrm>
            <a:off x="1790815" y="3788108"/>
            <a:ext cx="4646604" cy="1168400"/>
          </a:xfrm>
        </p:spPr>
        <p:txBody>
          <a:bodyPr>
            <a:noAutofit/>
          </a:bodyPr>
          <a:lstStyle>
            <a:lvl1pPr marL="0" indent="0" algn="l" defTabSz="914400" rtl="0" eaLnBrk="1" latinLnBrk="0" hangingPunct="1">
              <a:buNone/>
              <a:defRPr lang="en-US" sz="3200" kern="1200" dirty="0" smtClean="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4" name="Picture 3" descr="Text&#10;&#10;Description automatically generated">
            <a:extLst>
              <a:ext uri="{FF2B5EF4-FFF2-40B4-BE49-F238E27FC236}">
                <a16:creationId xmlns:a16="http://schemas.microsoft.com/office/drawing/2014/main" id="{300B25EC-3069-3F41-8026-A702DB3763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36" name="Slide Number Placeholder 7">
            <a:extLst>
              <a:ext uri="{FF2B5EF4-FFF2-40B4-BE49-F238E27FC236}">
                <a16:creationId xmlns:a16="http://schemas.microsoft.com/office/drawing/2014/main" id="{B4A7D26B-2E50-46FB-8BC7-CAD5DCDB6950}"/>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773188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Slide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67081F2-2672-4A06-8D6C-D70E79AFD9B4}"/>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05325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171116" y="2659933"/>
            <a:ext cx="8316681"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grpSp>
        <p:nvGrpSpPr>
          <p:cNvPr id="9" name="Graphic 4">
            <a:extLst>
              <a:ext uri="{FF2B5EF4-FFF2-40B4-BE49-F238E27FC236}">
                <a16:creationId xmlns:a16="http://schemas.microsoft.com/office/drawing/2014/main" id="{A2F7C970-0F95-49C8-8643-1F3A5CD4CCE7}"/>
              </a:ext>
            </a:extLst>
          </p:cNvPr>
          <p:cNvGrpSpPr/>
          <p:nvPr userDrawn="1"/>
        </p:nvGrpSpPr>
        <p:grpSpPr>
          <a:xfrm flipH="1">
            <a:off x="0" y="0"/>
            <a:ext cx="6096000" cy="4790946"/>
            <a:chOff x="3067050" y="1044892"/>
            <a:chExt cx="6059805" cy="4762500"/>
          </a:xfrm>
          <a:gradFill>
            <a:gsLst>
              <a:gs pos="0">
                <a:srgbClr val="99ACC0">
                  <a:alpha val="0"/>
                </a:srgbClr>
              </a:gs>
              <a:gs pos="62500">
                <a:srgbClr val="B2B2B2"/>
              </a:gs>
              <a:gs pos="100000">
                <a:srgbClr val="013061"/>
              </a:gs>
            </a:gsLst>
            <a:lin ang="5400000" scaled="0"/>
          </a:gradFill>
        </p:grpSpPr>
        <p:sp>
          <p:nvSpPr>
            <p:cNvPr id="10" name="Graphic 4">
              <a:extLst>
                <a:ext uri="{FF2B5EF4-FFF2-40B4-BE49-F238E27FC236}">
                  <a16:creationId xmlns:a16="http://schemas.microsoft.com/office/drawing/2014/main" id="{E7A95639-69CA-4DC1-8B4F-DEDAB2517853}"/>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EE7BC3AC-E07E-48FA-8F78-10567D9F6F56}"/>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D2688DA9-E0FF-4D64-8329-9F1968D4C2CC}"/>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3C2AC0A1-6281-4E67-893D-88093118C31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E2067F8B-F086-4CC4-BE64-897B1C599AA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54D9B084-163D-4BC4-9A5F-033ECD573646}"/>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D267A01-A2E9-48EB-AC17-A667634235F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F9A85EAB-CFBD-464F-9768-DE075F7CBEC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61FF304-E5E7-4F84-A50A-93FCBFE3464F}"/>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6B0343CD-5C36-423D-A21C-0252D8FA4915}"/>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B7F006E-2037-4F9A-A628-EEC39861D14D}"/>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12774723-645B-497D-8736-CC8A6906C62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0F91FE57-682C-4D80-96FB-9494F787C7B6}"/>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BBAE351-F9B6-43E7-AC85-1D02E84E6178}"/>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E95AD943-8196-44A2-8F7B-A3C456A1D81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28" name="Straight Connector 27">
            <a:extLst>
              <a:ext uri="{FF2B5EF4-FFF2-40B4-BE49-F238E27FC236}">
                <a16:creationId xmlns:a16="http://schemas.microsoft.com/office/drawing/2014/main" id="{0F3F1118-A5A3-45FC-B82E-CCBAE5B28662}"/>
              </a:ext>
            </a:extLst>
          </p:cNvPr>
          <p:cNvCxnSpPr>
            <a:cxnSpLocks/>
          </p:cNvCxnSpPr>
          <p:nvPr userDrawn="1"/>
        </p:nvCxnSpPr>
        <p:spPr>
          <a:xfrm rot="5400000">
            <a:off x="2827547" y="3257929"/>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a:extLst>
              <a:ext uri="{FF2B5EF4-FFF2-40B4-BE49-F238E27FC236}">
                <a16:creationId xmlns:a16="http://schemas.microsoft.com/office/drawing/2014/main" id="{345614C9-6F27-B34B-BA69-117585AA2A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29" name="Slide Number Placeholder 7">
            <a:extLst>
              <a:ext uri="{FF2B5EF4-FFF2-40B4-BE49-F238E27FC236}">
                <a16:creationId xmlns:a16="http://schemas.microsoft.com/office/drawing/2014/main" id="{93AC9C10-E2E0-4208-99EA-3409632D211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4081928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rgbClr val="06050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465FC4-944B-4516-9E87-7E82A52D7A01}"/>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97925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D76EB74-9DB2-46A5-9923-BB95B81777A2}"/>
              </a:ext>
            </a:extLst>
          </p:cNvPr>
          <p:cNvCxnSpPr>
            <a:cxnSpLocks/>
          </p:cNvCxnSpPr>
          <p:nvPr userDrawn="1"/>
        </p:nvCxnSpPr>
        <p:spPr>
          <a:xfrm rot="5400000">
            <a:off x="6096000" y="2370648"/>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4BD15A1-96AA-4875-B912-4DD9FF782F38}"/>
              </a:ext>
            </a:extLst>
          </p:cNvPr>
          <p:cNvPicPr>
            <a:picLocks noChangeAspect="1"/>
          </p:cNvPicPr>
          <p:nvPr userDrawn="1"/>
        </p:nvPicPr>
        <p:blipFill rotWithShape="1">
          <a:blip r:embed="rId5"/>
          <a:srcRect t="24474" b="9048"/>
          <a:stretch/>
        </p:blipFill>
        <p:spPr>
          <a:xfrm>
            <a:off x="14713" y="3865851"/>
            <a:ext cx="12162574" cy="2897806"/>
          </a:xfrm>
          <a:prstGeom prst="rect">
            <a:avLst/>
          </a:prstGeom>
        </p:spPr>
      </p:pic>
      <p:sp>
        <p:nvSpPr>
          <p:cNvPr id="16" name="Title 1">
            <a:extLst>
              <a:ext uri="{FF2B5EF4-FFF2-40B4-BE49-F238E27FC236}">
                <a16:creationId xmlns:a16="http://schemas.microsoft.com/office/drawing/2014/main" id="{B8FC3382-1288-41F9-BEC9-FAEFE5DE3CE7}"/>
              </a:ext>
            </a:extLst>
          </p:cNvPr>
          <p:cNvSpPr>
            <a:spLocks noGrp="1"/>
          </p:cNvSpPr>
          <p:nvPr>
            <p:ph type="ctrTitle"/>
          </p:nvPr>
        </p:nvSpPr>
        <p:spPr>
          <a:xfrm>
            <a:off x="2854493" y="1600200"/>
            <a:ext cx="6480008" cy="1275670"/>
          </a:xfrm>
        </p:spPr>
        <p:txBody>
          <a:bodyPr vert="horz" anchor="b">
            <a:normAutofit/>
          </a:bodyPr>
          <a:lstStyle>
            <a:lvl1pPr marL="0" algn="ctr"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18" name="Text Placeholder 4">
            <a:extLst>
              <a:ext uri="{FF2B5EF4-FFF2-40B4-BE49-F238E27FC236}">
                <a16:creationId xmlns:a16="http://schemas.microsoft.com/office/drawing/2014/main" id="{78D323FF-20CC-4334-A114-EEAAF5177FA8}"/>
              </a:ext>
            </a:extLst>
          </p:cNvPr>
          <p:cNvSpPr>
            <a:spLocks noGrp="1"/>
          </p:cNvSpPr>
          <p:nvPr>
            <p:ph type="body" sz="quarter" idx="10" hasCustomPrompt="1"/>
          </p:nvPr>
        </p:nvSpPr>
        <p:spPr>
          <a:xfrm>
            <a:off x="2854509" y="3178287"/>
            <a:ext cx="6482982" cy="1168400"/>
          </a:xfrm>
        </p:spPr>
        <p:txBody>
          <a:bodyPr>
            <a:noAutofit/>
          </a:bodyPr>
          <a:lstStyle>
            <a:lvl1pPr marL="0" indent="0" algn="ctr" defTabSz="914400" rtl="0" eaLnBrk="1" latinLnBrk="0" hangingPunct="1">
              <a:buNone/>
              <a:defRPr lang="en-US" sz="3200" kern="1200" dirty="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8" name="Picture 7" descr="Text&#10;&#10;Description automatically generated">
            <a:extLst>
              <a:ext uri="{FF2B5EF4-FFF2-40B4-BE49-F238E27FC236}">
                <a16:creationId xmlns:a16="http://schemas.microsoft.com/office/drawing/2014/main" id="{808E9FC4-23C6-F84E-84F7-48724A04D8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9" name="Slide Number Placeholder 7">
            <a:extLst>
              <a:ext uri="{FF2B5EF4-FFF2-40B4-BE49-F238E27FC236}">
                <a16:creationId xmlns:a16="http://schemas.microsoft.com/office/drawing/2014/main" id="{E843A243-84FD-4580-9164-414F83CBAEE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219282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53EDD9-9699-40FD-A559-BDB7B75E1FC7}"/>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19853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E14E91F-1A1B-4A70-A507-25967C61F47E}"/>
              </a:ext>
            </a:extLst>
          </p:cNvPr>
          <p:cNvCxnSpPr>
            <a:cxnSpLocks/>
          </p:cNvCxnSpPr>
          <p:nvPr userDrawn="1"/>
        </p:nvCxnSpPr>
        <p:spPr>
          <a:xfrm flipH="1">
            <a:off x="4220794" y="3639183"/>
            <a:ext cx="9155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DC35FF3-E954-43D8-8C17-200EF1EEFE2F}"/>
              </a:ext>
            </a:extLst>
          </p:cNvPr>
          <p:cNvPicPr>
            <a:picLocks noChangeAspect="1"/>
          </p:cNvPicPr>
          <p:nvPr userDrawn="1"/>
        </p:nvPicPr>
        <p:blipFill rotWithShape="1">
          <a:blip r:embed="rId5"/>
          <a:srcRect l="16825"/>
          <a:stretch/>
        </p:blipFill>
        <p:spPr>
          <a:xfrm>
            <a:off x="-25400" y="0"/>
            <a:ext cx="4246194" cy="6858000"/>
          </a:xfrm>
          <a:prstGeom prst="rect">
            <a:avLst/>
          </a:prstGeom>
        </p:spPr>
      </p:pic>
      <p:sp>
        <p:nvSpPr>
          <p:cNvPr id="23" name="Title 1">
            <a:extLst>
              <a:ext uri="{FF2B5EF4-FFF2-40B4-BE49-F238E27FC236}">
                <a16:creationId xmlns:a16="http://schemas.microsoft.com/office/drawing/2014/main" id="{E8BCFA27-9331-4AFA-A2B5-1A8FDCA06E2C}"/>
              </a:ext>
            </a:extLst>
          </p:cNvPr>
          <p:cNvSpPr>
            <a:spLocks noGrp="1"/>
          </p:cNvSpPr>
          <p:nvPr>
            <p:ph type="ctrTitle"/>
          </p:nvPr>
        </p:nvSpPr>
        <p:spPr>
          <a:xfrm>
            <a:off x="4220795" y="2412512"/>
            <a:ext cx="7475906"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7" name="Slide Number Placeholder 7">
            <a:extLst>
              <a:ext uri="{FF2B5EF4-FFF2-40B4-BE49-F238E27FC236}">
                <a16:creationId xmlns:a16="http://schemas.microsoft.com/office/drawing/2014/main" id="{0BA81359-2247-43B4-87FC-A40B96E45FFD}"/>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446550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FF82B6B-D20E-3A4D-A362-76D16AD67AA0}"/>
              </a:ext>
            </a:extLst>
          </p:cNvPr>
          <p:cNvPicPr>
            <a:picLocks noChangeAspect="1"/>
          </p:cNvPicPr>
          <p:nvPr userDrawn="1"/>
        </p:nvPicPr>
        <p:blipFill rotWithShape="1">
          <a:blip r:embed="rId2">
            <a:alphaModFix amt="8000"/>
          </a:blip>
          <a:srcRect t="3464" r="13250" b="7243"/>
          <a:stretch/>
        </p:blipFill>
        <p:spPr>
          <a:xfrm>
            <a:off x="5445494" y="-1"/>
            <a:ext cx="6746506" cy="6858001"/>
          </a:xfrm>
          <a:prstGeom prst="rect">
            <a:avLst/>
          </a:prstGeom>
        </p:spPr>
      </p:pic>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1CF91DCC-7578-0C43-A6CB-45712F2950B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8E927C3-92B5-DE41-8216-A26A55C91808}"/>
              </a:ext>
            </a:extLst>
          </p:cNvPr>
          <p:cNvSpPr/>
          <p:nvPr userDrawn="1"/>
        </p:nvSpPr>
        <p:spPr>
          <a:xfrm>
            <a:off x="495300" y="1258432"/>
            <a:ext cx="112014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527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127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Bullets points Slide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a:extLst>
              <a:ext uri="{FF2B5EF4-FFF2-40B4-BE49-F238E27FC236}">
                <a16:creationId xmlns:a16="http://schemas.microsoft.com/office/drawing/2014/main" id="{60EE586F-88B1-4428-9A78-C5035CB3CA87}"/>
              </a:ext>
            </a:extLst>
          </p:cNvPr>
          <p:cNvSpPr>
            <a:spLocks noGrp="1"/>
          </p:cNvSpPr>
          <p:nvPr>
            <p:ph idx="1"/>
          </p:nvPr>
        </p:nvSpPr>
        <p:spPr>
          <a:xfrm>
            <a:off x="495300" y="1430338"/>
            <a:ext cx="11201400" cy="5008562"/>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375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AE3DD2-2834-4824-92A3-3C47AE29FFE6}"/>
              </a:ext>
            </a:extLst>
          </p:cNvPr>
          <p:cNvGraphicFramePr>
            <a:graphicFrameLocks noChangeAspect="1"/>
          </p:cNvGraphicFramePr>
          <p:nvPr userDrawn="1">
            <p:custDataLst>
              <p:tags r:id="rId24"/>
            </p:custDataLst>
            <p:extLst>
              <p:ext uri="{D42A27DB-BD31-4B8C-83A1-F6EECF244321}">
                <p14:modId xmlns:p14="http://schemas.microsoft.com/office/powerpoint/2010/main" val="30614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13" name="Object 12" hidden="1">
                        <a:extLst>
                          <a:ext uri="{FF2B5EF4-FFF2-40B4-BE49-F238E27FC236}">
                            <a16:creationId xmlns:a16="http://schemas.microsoft.com/office/drawing/2014/main" id="{4EAE3DD2-2834-4824-92A3-3C47AE29FFE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D2D7EC-30AD-4DC9-8BFD-459045015804}"/>
              </a:ext>
            </a:extLst>
          </p:cNvPr>
          <p:cNvSpPr>
            <a:spLocks noGrp="1"/>
          </p:cNvSpPr>
          <p:nvPr>
            <p:ph type="title"/>
          </p:nvPr>
        </p:nvSpPr>
        <p:spPr>
          <a:xfrm>
            <a:off x="495300" y="365125"/>
            <a:ext cx="11201400" cy="893307"/>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3F603E-3F50-4297-BFDD-5C671600976F}"/>
              </a:ext>
            </a:extLst>
          </p:cNvPr>
          <p:cNvSpPr>
            <a:spLocks noGrp="1"/>
          </p:cNvSpPr>
          <p:nvPr>
            <p:ph type="body" idx="1"/>
          </p:nvPr>
        </p:nvSpPr>
        <p:spPr>
          <a:xfrm>
            <a:off x="495300" y="1430338"/>
            <a:ext cx="11201400" cy="50085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58C43C5-F0A7-476A-83EF-400B1E956AC4}"/>
              </a:ext>
            </a:extLst>
          </p:cNvPr>
          <p:cNvSpPr>
            <a:spLocks noGrp="1"/>
          </p:cNvSpPr>
          <p:nvPr>
            <p:ph type="sldNum" sz="quarter" idx="4"/>
          </p:nvPr>
        </p:nvSpPr>
        <p:spPr>
          <a:xfrm>
            <a:off x="11009562" y="6449372"/>
            <a:ext cx="778221" cy="228600"/>
          </a:xfrm>
          <a:prstGeom prst="rect">
            <a:avLst/>
          </a:prstGeom>
        </p:spPr>
        <p:txBody>
          <a:bodyPr vert="horz" lIns="91440" tIns="45720" rIns="91440" bIns="45720" rtlCol="0" anchor="ctr"/>
          <a:lstStyle>
            <a:lvl1pPr algn="r">
              <a:defRPr sz="1100">
                <a:solidFill>
                  <a:schemeClr val="tx1"/>
                </a:solidFill>
                <a:latin typeface="Century Gothic" panose="020B0502020202020204" pitchFamily="34" charset="0"/>
              </a:defRPr>
            </a:lvl1pPr>
          </a:lstStyle>
          <a:p>
            <a:fld id="{E12A10EF-65F5-415A-B4AC-FF5E1BACB397}" type="slidenum">
              <a:rPr lang="en-US" smtClean="0"/>
              <a:pPr/>
              <a:t>‹#›</a:t>
            </a:fld>
            <a:endParaRPr lang="en-US"/>
          </a:p>
        </p:txBody>
      </p:sp>
      <p:sp>
        <p:nvSpPr>
          <p:cNvPr id="9" name="Rectangle 8" hidden="1">
            <a:extLst>
              <a:ext uri="{FF2B5EF4-FFF2-40B4-BE49-F238E27FC236}">
                <a16:creationId xmlns:a16="http://schemas.microsoft.com/office/drawing/2014/main" id="{94EED783-9D6D-4DDB-B2EB-FE7B81349125}"/>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a:latin typeface="Century Gothic" panose="020B0502020202020204" pitchFamily="34" charset="0"/>
              <a:ea typeface="+mj-ea"/>
              <a:cs typeface="+mj-cs"/>
            </a:endParaRPr>
          </a:p>
        </p:txBody>
      </p:sp>
    </p:spTree>
    <p:extLst>
      <p:ext uri="{BB962C8B-B14F-4D97-AF65-F5344CB8AC3E}">
        <p14:creationId xmlns:p14="http://schemas.microsoft.com/office/powerpoint/2010/main" val="2978498364"/>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4" r:id="rId3"/>
    <p:sldLayoutId id="2147483665" r:id="rId4"/>
    <p:sldLayoutId id="2147483667" r:id="rId5"/>
    <p:sldLayoutId id="2147483666" r:id="rId6"/>
    <p:sldLayoutId id="2147483650" r:id="rId7"/>
    <p:sldLayoutId id="2147483672" r:id="rId8"/>
    <p:sldLayoutId id="2147483674" r:id="rId9"/>
    <p:sldLayoutId id="2147483654" r:id="rId10"/>
    <p:sldLayoutId id="2147483678" r:id="rId11"/>
    <p:sldLayoutId id="2147483683" r:id="rId12"/>
    <p:sldLayoutId id="2147483660" r:id="rId13"/>
    <p:sldLayoutId id="2147483673" r:id="rId14"/>
    <p:sldLayoutId id="2147483681" r:id="rId15"/>
    <p:sldLayoutId id="2147483680" r:id="rId16"/>
    <p:sldLayoutId id="2147483655" r:id="rId17"/>
    <p:sldLayoutId id="2147483677" r:id="rId18"/>
    <p:sldLayoutId id="2147483675" r:id="rId19"/>
    <p:sldLayoutId id="2147483682" r:id="rId20"/>
    <p:sldLayoutId id="2147483676" r:id="rId21"/>
    <p:sldLayoutId id="2147483679" r:id="rId22"/>
  </p:sldLayoutIdLst>
  <p:hf hdr="0" dt="0"/>
  <p:txStyles>
    <p:title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Century Gothic" panose="020B0502020202020204" pitchFamily="34" charset="0"/>
          <a:ea typeface="Verdana" panose="020B0604030504040204" pitchFamily="34" charset="0"/>
          <a:cs typeface="+mn-cs"/>
        </a:defRPr>
      </a:lvl1pPr>
      <a:lvl2pPr marL="4572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Century Gothic" panose="020B0502020202020204" pitchFamily="34" charset="0"/>
          <a:ea typeface="Verdana" panose="020B0604030504040204" pitchFamily="34" charset="0"/>
          <a:cs typeface="+mn-cs"/>
        </a:defRPr>
      </a:lvl2pPr>
      <a:lvl3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Century Gothic" panose="020B0502020202020204" pitchFamily="34" charset="0"/>
          <a:ea typeface="Verdana" panose="020B0604030504040204" pitchFamily="34" charset="0"/>
          <a:cs typeface="+mn-cs"/>
        </a:defRPr>
      </a:lvl3pPr>
      <a:lvl4pPr marL="914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4pPr>
      <a:lvl5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7368" userDrawn="1">
          <p15:clr>
            <a:srgbClr val="F26B43"/>
          </p15:clr>
        </p15:guide>
        <p15:guide id="3" orient="horz" pos="228" userDrawn="1">
          <p15:clr>
            <a:srgbClr val="F26B43"/>
          </p15:clr>
        </p15:guide>
        <p15:guide id="4" orient="horz" pos="4056" userDrawn="1">
          <p15:clr>
            <a:srgbClr val="F26B43"/>
          </p15:clr>
        </p15:guide>
        <p15:guide id="5" orient="horz" pos="792" userDrawn="1">
          <p15:clr>
            <a:srgbClr val="F26B43"/>
          </p15:clr>
        </p15:guide>
        <p15:guide id="6" orient="horz" pos="901" userDrawn="1">
          <p15:clr>
            <a:srgbClr val="F26B43"/>
          </p15:clr>
        </p15:guide>
        <p15:guide id="7" orient="horz" pos="39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84549D-0985-467F-896D-1DABDDA0053F}"/>
              </a:ext>
            </a:extLst>
          </p:cNvPr>
          <p:cNvSpPr>
            <a:spLocks noGrp="1"/>
          </p:cNvSpPr>
          <p:nvPr>
            <p:ph type="ctrTitle"/>
          </p:nvPr>
        </p:nvSpPr>
        <p:spPr>
          <a:xfrm>
            <a:off x="593155" y="1597025"/>
            <a:ext cx="6868349" cy="1655762"/>
          </a:xfrm>
        </p:spPr>
        <p:txBody>
          <a:bodyPr>
            <a:normAutofit/>
          </a:bodyPr>
          <a:lstStyle/>
          <a:p>
            <a:r>
              <a:rPr lang="en-US" dirty="0"/>
              <a:t>State Sunlight-Long</a:t>
            </a:r>
            <a:br>
              <a:rPr lang="en-US" dirty="0"/>
            </a:br>
            <a:r>
              <a:rPr lang="en-US" dirty="0"/>
              <a:t>(Lowry Ranch CAP)</a:t>
            </a:r>
          </a:p>
        </p:txBody>
      </p:sp>
      <p:sp>
        <p:nvSpPr>
          <p:cNvPr id="25" name="Text Placeholder 24">
            <a:extLst>
              <a:ext uri="{FF2B5EF4-FFF2-40B4-BE49-F238E27FC236}">
                <a16:creationId xmlns:a16="http://schemas.microsoft.com/office/drawing/2014/main" id="{DEEDF144-EDD6-4AC4-AB20-F267CBA867E2}"/>
              </a:ext>
            </a:extLst>
          </p:cNvPr>
          <p:cNvSpPr>
            <a:spLocks noGrp="1"/>
          </p:cNvSpPr>
          <p:nvPr>
            <p:ph type="body" sz="quarter" idx="10"/>
          </p:nvPr>
        </p:nvSpPr>
        <p:spPr>
          <a:xfrm>
            <a:off x="593592" y="3688480"/>
            <a:ext cx="7263146" cy="1399086"/>
          </a:xfrm>
        </p:spPr>
        <p:txBody>
          <a:bodyPr/>
          <a:lstStyle/>
          <a:p>
            <a:r>
              <a:rPr lang="en-IN" dirty="0" err="1"/>
              <a:t>Neighborhood</a:t>
            </a:r>
            <a:r>
              <a:rPr lang="en-IN" dirty="0"/>
              <a:t> Meeting  </a:t>
            </a:r>
          </a:p>
          <a:p>
            <a:r>
              <a:rPr lang="en-IN" dirty="0"/>
              <a:t>February 27, 2024 </a:t>
            </a:r>
          </a:p>
          <a:p>
            <a:r>
              <a:rPr lang="en-IN"/>
              <a:t>3 </a:t>
            </a:r>
            <a:r>
              <a:rPr lang="en-IN" dirty="0"/>
              <a:t>PM </a:t>
            </a:r>
            <a:r>
              <a:rPr lang="en-IN"/>
              <a:t>– 7 </a:t>
            </a:r>
            <a:r>
              <a:rPr lang="en-IN" dirty="0"/>
              <a:t>PM</a:t>
            </a:r>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Slide Number Placeholder 1">
            <a:extLst>
              <a:ext uri="{FF2B5EF4-FFF2-40B4-BE49-F238E27FC236}">
                <a16:creationId xmlns:a16="http://schemas.microsoft.com/office/drawing/2014/main" id="{6D334EC9-2A15-4335-B603-48886938C224}"/>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1</a:t>
            </a:fld>
            <a:endParaRPr lang="en-US"/>
          </a:p>
        </p:txBody>
      </p:sp>
    </p:spTree>
    <p:extLst>
      <p:ext uri="{BB962C8B-B14F-4D97-AF65-F5344CB8AC3E}">
        <p14:creationId xmlns:p14="http://schemas.microsoft.com/office/powerpoint/2010/main" val="356995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01931"/>
            <a:ext cx="11201400" cy="5008562"/>
          </a:xfrm>
        </p:spPr>
        <p:txBody>
          <a:bodyPr>
            <a:normAutofit/>
          </a:bodyPr>
          <a:lstStyle/>
          <a:p>
            <a:pPr marL="0" indent="0">
              <a:buNone/>
            </a:pPr>
            <a:r>
              <a:rPr lang="en-IN" sz="1600" b="1" dirty="0"/>
              <a:t>Water</a:t>
            </a:r>
          </a:p>
          <a:p>
            <a:pPr>
              <a:lnSpc>
                <a:spcPct val="150000"/>
              </a:lnSpc>
            </a:pPr>
            <a:r>
              <a:rPr lang="en-US" sz="1400" dirty="0"/>
              <a:t>Crestone shall, at its own cost, perform initial baseline sampling and testing of all water sources located within one-half (1/2) mile radius of Oil and Gas Facility pursuant to ECMC Rule 615 and Arapahoe County Rule 5-36.F.9(b.). </a:t>
            </a:r>
          </a:p>
          <a:p>
            <a:pPr>
              <a:lnSpc>
                <a:spcPct val="150000"/>
              </a:lnSpc>
            </a:pPr>
            <a:r>
              <a:rPr lang="en-US" sz="1400" dirty="0"/>
              <a:t>Crestone utilizes a polyethylene liner beneath the drilling rig during drilling operations and beneath the areas where completions equipment (including pump trucks and other heavy equipment) during completion operations to ensure there is an impermeable layer between the rig and the earth. The use of this liner prevents hydrocarbons and other fluids from reaching the soil in the unlikely event a leak does occur. The liner is inspected for integrity throughout drilling operations and maintenance/repair to the liner occurs as needed. </a:t>
            </a:r>
          </a:p>
          <a:p>
            <a:pPr>
              <a:lnSpc>
                <a:spcPct val="150000"/>
              </a:lnSpc>
            </a:pPr>
            <a:r>
              <a:rPr lang="en-US" sz="1400" dirty="0"/>
              <a:t>Crestone will install an engineered containment system around and beneath the tank battery. The containment system is constructed of a perimeter of walls that are post driven into the ground around a flexible geotextile base. All components including the underlayment are sprayed with a polyurea liner technology. This liner technology maintains impermeability and puncture resistance under exposure to UV rays, weather extremes, and chemicals commonly encountered in oil and natural gas production and provides seamless protection.</a:t>
            </a:r>
          </a:p>
          <a:p>
            <a:pPr marL="0" indent="0">
              <a:buNone/>
            </a:pPr>
            <a:endParaRPr lang="en-IN" sz="1400" dirty="0"/>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0</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75229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4561-B6B7-1845-9926-DE30D60DBA0A}"/>
              </a:ext>
            </a:extLst>
          </p:cNvPr>
          <p:cNvSpPr>
            <a:spLocks noGrp="1"/>
          </p:cNvSpPr>
          <p:nvPr>
            <p:ph type="title"/>
          </p:nvPr>
        </p:nvSpPr>
        <p:spPr>
          <a:xfrm>
            <a:off x="495300" y="365125"/>
            <a:ext cx="11201400" cy="893307"/>
          </a:xfrm>
        </p:spPr>
        <p:txBody>
          <a:bodyPr/>
          <a:lstStyle/>
          <a:p>
            <a:r>
              <a:rPr lang="en-US" dirty="0"/>
              <a:t>Mitigation and BMPs (continued)</a:t>
            </a:r>
          </a:p>
        </p:txBody>
      </p:sp>
      <p:sp>
        <p:nvSpPr>
          <p:cNvPr id="3" name="Content Placeholder 2">
            <a:extLst>
              <a:ext uri="{FF2B5EF4-FFF2-40B4-BE49-F238E27FC236}">
                <a16:creationId xmlns:a16="http://schemas.microsoft.com/office/drawing/2014/main" id="{CC295A13-976B-FAF9-BED8-4091DE0DDBB0}"/>
              </a:ext>
            </a:extLst>
          </p:cNvPr>
          <p:cNvSpPr>
            <a:spLocks noGrp="1"/>
          </p:cNvSpPr>
          <p:nvPr>
            <p:ph idx="1"/>
          </p:nvPr>
        </p:nvSpPr>
        <p:spPr>
          <a:xfrm>
            <a:off x="495300" y="1349621"/>
            <a:ext cx="11201400" cy="5008562"/>
          </a:xfrm>
        </p:spPr>
        <p:txBody>
          <a:bodyPr>
            <a:normAutofit/>
          </a:bodyPr>
          <a:lstStyle/>
          <a:p>
            <a:pPr marL="0" indent="0">
              <a:buNone/>
            </a:pPr>
            <a:r>
              <a:rPr lang="en-US" sz="2000" b="1" dirty="0"/>
              <a:t>Air</a:t>
            </a:r>
          </a:p>
          <a:p>
            <a:pPr marL="0" indent="0">
              <a:spcBef>
                <a:spcPts val="400"/>
              </a:spcBef>
              <a:buNone/>
            </a:pPr>
            <a:r>
              <a:rPr lang="en-US" sz="1400" b="1" dirty="0"/>
              <a:t>Engineering Practices to Reduce Cumulative Impacts</a:t>
            </a:r>
          </a:p>
          <a:p>
            <a:pPr>
              <a:lnSpc>
                <a:spcPct val="100000"/>
              </a:lnSpc>
            </a:pPr>
            <a:r>
              <a:rPr lang="en-US" sz="1400" dirty="0"/>
              <a:t>Tier IV engines (or equivalent) will be employed during Completions to reduce emissions.</a:t>
            </a:r>
          </a:p>
          <a:p>
            <a:pPr>
              <a:lnSpc>
                <a:spcPct val="100000"/>
              </a:lnSpc>
            </a:pPr>
            <a:r>
              <a:rPr lang="en-US" sz="1400" dirty="0"/>
              <a:t>If deemed technically feasible by the local utility provider, an electric drilling rig will be employed. However, in the event that an electric rig cannot be utilized, Crestone pledges to use a Tier IV or equivalent drilling rig.</a:t>
            </a:r>
          </a:p>
          <a:p>
            <a:pPr>
              <a:lnSpc>
                <a:spcPct val="100000"/>
              </a:lnSpc>
            </a:pPr>
            <a:r>
              <a:rPr lang="en-US" sz="1400" dirty="0"/>
              <a:t>To minimize emissions, we employ top of the line engineering practices. These include utilizing instrument air pneumatics, implementing tank and loadout controls, and prioritizing electrification wherever feasible.</a:t>
            </a:r>
          </a:p>
          <a:p>
            <a:pPr marL="0" indent="0">
              <a:buNone/>
            </a:pPr>
            <a:r>
              <a:rPr lang="en-US" sz="1500" b="1" dirty="0"/>
              <a:t>Air Monitoring and Leak Detection Procedures</a:t>
            </a:r>
          </a:p>
          <a:p>
            <a:pPr>
              <a:lnSpc>
                <a:spcPct val="100000"/>
              </a:lnSpc>
            </a:pPr>
            <a:r>
              <a:rPr lang="en-US" sz="1400" dirty="0"/>
              <a:t>During drilling, completion, and production operations, regular Auditory, Visual, and Olfactory Monitoring (AVO) inspections are performed on equipment containing hydrocarbons, fluids, or associated chemicals. AVO inspections include taking the time to look, smell and listen for leaks. </a:t>
            </a:r>
          </a:p>
          <a:p>
            <a:pPr>
              <a:lnSpc>
                <a:spcPct val="100000"/>
              </a:lnSpc>
            </a:pPr>
            <a:r>
              <a:rPr lang="en-US" sz="1400" dirty="0"/>
              <a:t>Crestone has developed a robust Leak Detection and Repair (LDAR) program, which utilizes Forward Looking Infrared (FLIR®) cameras to identify and fix leaks. These inspections will begin during the drilling phase and continue throughout the life of the Oil &amp; Gas Location.</a:t>
            </a:r>
          </a:p>
          <a:p>
            <a:pPr>
              <a:lnSpc>
                <a:spcPct val="100000"/>
              </a:lnSpc>
            </a:pPr>
            <a:r>
              <a:rPr lang="en-US" sz="1400" dirty="0"/>
              <a:t>An Air Monitoring plan will be reviewed and approved by both the Colorado Department of Public Health and Environment (CDPHE).</a:t>
            </a:r>
          </a:p>
          <a:p>
            <a:pPr marL="0" indent="0">
              <a:buNone/>
            </a:pPr>
            <a:endParaRPr lang="en-US" dirty="0"/>
          </a:p>
        </p:txBody>
      </p:sp>
      <p:sp>
        <p:nvSpPr>
          <p:cNvPr id="4" name="Slide Number Placeholder 3">
            <a:extLst>
              <a:ext uri="{FF2B5EF4-FFF2-40B4-BE49-F238E27FC236}">
                <a16:creationId xmlns:a16="http://schemas.microsoft.com/office/drawing/2014/main" id="{1043233D-A042-0520-6853-06DE7C72C33B}"/>
              </a:ext>
            </a:extLst>
          </p:cNvPr>
          <p:cNvSpPr>
            <a:spLocks noGrp="1"/>
          </p:cNvSpPr>
          <p:nvPr>
            <p:ph type="sldNum" sz="quarter" idx="11"/>
          </p:nvPr>
        </p:nvSpPr>
        <p:spPr/>
        <p:txBody>
          <a:bodyPr/>
          <a:lstStyle/>
          <a:p>
            <a:fld id="{E12A10EF-65F5-415A-B4AC-FF5E1BACB397}" type="slidenum">
              <a:rPr lang="en-US" smtClean="0"/>
              <a:pPr/>
              <a:t>11</a:t>
            </a:fld>
            <a:endParaRPr lang="en-US"/>
          </a:p>
        </p:txBody>
      </p:sp>
    </p:spTree>
    <p:extLst>
      <p:ext uri="{BB962C8B-B14F-4D97-AF65-F5344CB8AC3E}">
        <p14:creationId xmlns:p14="http://schemas.microsoft.com/office/powerpoint/2010/main" val="3468929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a:bodyPr>
          <a:lstStyle/>
          <a:p>
            <a:pPr marL="0" indent="0">
              <a:buNone/>
            </a:pPr>
            <a:r>
              <a:rPr lang="en-IN" sz="1600" b="1" dirty="0"/>
              <a:t>Noise</a:t>
            </a:r>
          </a:p>
          <a:p>
            <a:r>
              <a:rPr lang="en-US" sz="1400" dirty="0"/>
              <a:t>A noise mitigation plan will be submitted to Arapahoe County as a part this application.</a:t>
            </a:r>
          </a:p>
          <a:p>
            <a:r>
              <a:rPr lang="en-US" sz="1400" dirty="0"/>
              <a:t>Crestone shall provide a 24-hour contact number for noise complaints on the facility sign required in section 5-3.6.F.3.h of Arapahoe County Oil and Gas Regulations, as well as the ECMC’s complaint hotline number.</a:t>
            </a:r>
          </a:p>
          <a:p>
            <a:r>
              <a:rPr lang="en-US" sz="1400" dirty="0"/>
              <a:t>Crestone  will utilize a quiet completion fleet during completion operations to help minimize noise originating from the location. </a:t>
            </a:r>
          </a:p>
          <a:p>
            <a:r>
              <a:rPr lang="en-US" sz="1400" dirty="0"/>
              <a:t>Unnecessary sounds such as honking the horn, revving vehicle engines, loud music, and unwarranted metal hammering/banging are all examples of sound that can create nuisance; failure to eliminate unnecessary sound from location will be subject to an internal compliance assessment if reported by a landowner.</a:t>
            </a:r>
          </a:p>
          <a:p>
            <a:r>
              <a:rPr lang="en-US" sz="1400" dirty="0"/>
              <a:t>Idling Equipment – While idling engine/equipment, maintain at the lowest frequency possible, as well as, in a position/location that will prevent sound from carrying to nearby residents.</a:t>
            </a:r>
            <a:endParaRPr lang="en-IN" sz="1400" dirty="0"/>
          </a:p>
          <a:p>
            <a:pPr marL="0" indent="0">
              <a:buNone/>
            </a:pPr>
            <a:r>
              <a:rPr lang="en-IN" sz="1600" b="1" dirty="0"/>
              <a:t>Light</a:t>
            </a:r>
          </a:p>
          <a:p>
            <a:r>
              <a:rPr lang="en-IN" sz="1400" dirty="0"/>
              <a:t>Lighting shall be pointed inward and downward.</a:t>
            </a:r>
          </a:p>
          <a:p>
            <a:r>
              <a:rPr lang="en-IN" sz="1400" dirty="0"/>
              <a:t>No permanent lighting shall be installed on the location.</a:t>
            </a:r>
          </a:p>
          <a:p>
            <a:r>
              <a:rPr lang="en-US" sz="1400" dirty="0"/>
              <a:t>At move-in, rig-up and regularly during Drilling and Completion phases, Crestone will routinely walk around the outside of the disturbance area to identify and reduce obtrusive lighting from leaving the site where possible.</a:t>
            </a:r>
            <a:endParaRPr lang="en-IN" sz="1400" dirty="0"/>
          </a:p>
          <a:p>
            <a:pPr marL="0" indent="0">
              <a:buNone/>
            </a:pPr>
            <a:endParaRPr lang="en-IN" sz="1400" dirty="0"/>
          </a:p>
          <a:p>
            <a:endParaRPr lang="en-IN" sz="1400" dirty="0"/>
          </a:p>
          <a:p>
            <a:pPr marL="0" indent="0">
              <a:buNone/>
            </a:pPr>
            <a:endParaRPr lang="en-IN" sz="1400" dirty="0"/>
          </a:p>
          <a:p>
            <a:endParaRPr lang="en-US" sz="1400" dirty="0"/>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2</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19434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lnSpcReduction="10000"/>
          </a:bodyPr>
          <a:lstStyle/>
          <a:p>
            <a:pPr marL="0" indent="0">
              <a:buNone/>
            </a:pPr>
            <a:r>
              <a:rPr lang="en-IN" sz="1600" b="1" dirty="0"/>
              <a:t>Odor</a:t>
            </a:r>
          </a:p>
          <a:p>
            <a:pPr>
              <a:lnSpc>
                <a:spcPct val="110000"/>
              </a:lnSpc>
            </a:pPr>
            <a:r>
              <a:rPr lang="en-US" sz="1400" dirty="0">
                <a:ea typeface="Calibri" panose="020F0502020204030204" pitchFamily="34" charset="0"/>
                <a:cs typeface="Times New Roman" panose="02020603050405020304" pitchFamily="18" charset="0"/>
              </a:rPr>
              <a:t>All drilling fluids are routed through a closed loop system.</a:t>
            </a:r>
          </a:p>
          <a:p>
            <a:pPr>
              <a:lnSpc>
                <a:spcPct val="110000"/>
              </a:lnSpc>
              <a:spcBef>
                <a:spcPts val="600"/>
              </a:spcBef>
            </a:pPr>
            <a:r>
              <a:rPr lang="en-US" sz="1400" dirty="0">
                <a:ea typeface="Calibri" panose="020F0502020204030204" pitchFamily="34" charset="0"/>
                <a:cs typeface="Times New Roman" panose="02020603050405020304" pitchFamily="18" charset="0"/>
              </a:rPr>
              <a:t>Will employ IOGP Group III – oil-based mud and odorless (no BTEX).</a:t>
            </a:r>
          </a:p>
          <a:p>
            <a:pPr>
              <a:lnSpc>
                <a:spcPct val="110000"/>
              </a:lnSpc>
              <a:spcBef>
                <a:spcPts val="500"/>
              </a:spcBef>
            </a:pPr>
            <a:r>
              <a:rPr lang="en-US" sz="1400" dirty="0">
                <a:effectLst/>
                <a:ea typeface="Calibri" panose="020F0502020204030204" pitchFamily="34" charset="0"/>
                <a:cs typeface="Times New Roman" panose="02020603050405020304" pitchFamily="18" charset="0"/>
              </a:rPr>
              <a:t>No open earthen pits will be used to store fluids or drill cuttings.</a:t>
            </a:r>
          </a:p>
          <a:p>
            <a:pPr marL="0" indent="0">
              <a:buNone/>
            </a:pPr>
            <a:r>
              <a:rPr lang="en-US" sz="1600" b="1" dirty="0">
                <a:effectLst/>
                <a:ea typeface="Calibri" panose="020F0502020204030204" pitchFamily="34" charset="0"/>
                <a:cs typeface="Times New Roman" panose="02020603050405020304" pitchFamily="18" charset="0"/>
              </a:rPr>
              <a:t>Dust</a:t>
            </a:r>
            <a:endParaRPr lang="en-US" sz="1600" dirty="0">
              <a:effectLst/>
              <a:latin typeface="-apple-system"/>
            </a:endParaRPr>
          </a:p>
          <a:p>
            <a:pPr rtl="0">
              <a:lnSpc>
                <a:spcPct val="100000"/>
              </a:lnSpc>
            </a:pPr>
            <a:r>
              <a:rPr lang="en-US" sz="1400" dirty="0">
                <a:effectLst/>
                <a:latin typeface="+mn-lt"/>
              </a:rPr>
              <a:t>Dust suppression during initial construction will be accomplished by the application of freshwater to the access road(s) and exposed earthen surfaces to reduce the transportability of dust when atmospheric conditions are conducive to sustained winds and/or periodic gusts. All dust suppression efforts will consist of only freshwater unless otherwise requested and approved as applicable.</a:t>
            </a:r>
          </a:p>
          <a:p>
            <a:pPr rtl="0">
              <a:lnSpc>
                <a:spcPct val="100000"/>
              </a:lnSpc>
            </a:pPr>
            <a:r>
              <a:rPr lang="en-US" sz="1400" dirty="0">
                <a:effectLst/>
                <a:latin typeface="+mn-lt"/>
              </a:rPr>
              <a:t>To minimize sand-related dust emissions, the Crestone will be utilizing containerized box technology for sand transport, storage and use during the completions phase. These sand containers (or “sand boxes”) are sealed containers that protect the sand from exposure to wind and prevent dust generation.</a:t>
            </a:r>
          </a:p>
          <a:p>
            <a:pPr rtl="0">
              <a:lnSpc>
                <a:spcPct val="100000"/>
              </a:lnSpc>
            </a:pPr>
            <a:r>
              <a:rPr lang="en-US" sz="1400" dirty="0">
                <a:effectLst/>
                <a:latin typeface="+mn-lt"/>
              </a:rPr>
              <a:t>Crestone will post an access road speed limit not to exceed 20 miles per hour to minimize fugitive dust emissions from vehicle traffic traveling on the access road.</a:t>
            </a:r>
          </a:p>
          <a:p>
            <a:pPr rtl="0">
              <a:lnSpc>
                <a:spcPct val="100000"/>
              </a:lnSpc>
            </a:pPr>
            <a:r>
              <a:rPr lang="en-US" sz="1400" dirty="0">
                <a:effectLst/>
                <a:latin typeface="+mn-lt"/>
              </a:rPr>
              <a:t>Crestone will perform regular inspections and road maintenance to ensure the integrity of the access road and associated features is maintained throughout the life of this project. Maintenance consists of re-compacting the road base/recycled asphalt mix on an as-needed basis.</a:t>
            </a:r>
          </a:p>
          <a:p>
            <a:pPr rtl="0">
              <a:lnSpc>
                <a:spcPct val="100000"/>
              </a:lnSpc>
            </a:pPr>
            <a:r>
              <a:rPr lang="en-US" sz="1400" dirty="0">
                <a:effectLst/>
                <a:latin typeface="+mn-lt"/>
              </a:rPr>
              <a:t>Crestone will install and maintain vehicle tracking controls (i.e., coarse aggregate, a tracking pad, paved apron, or cattle guard) to further reduce and remove loose mud and dirt on construction equipment and vehicles servicing location.</a:t>
            </a: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3</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19603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C59E0-7592-FDF3-8488-3052C23EA1F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52E02B-8622-A961-130D-EC6141209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AC52E02B-8622-A961-130D-EC6141209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6B97B6-D85F-5AFC-DF3A-165B7F1E6AE1}"/>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352CBAE7-FCEC-0AC0-1136-C8AB849CEF54}"/>
              </a:ext>
            </a:extLst>
          </p:cNvPr>
          <p:cNvSpPr>
            <a:spLocks noGrp="1"/>
          </p:cNvSpPr>
          <p:nvPr>
            <p:ph idx="1"/>
          </p:nvPr>
        </p:nvSpPr>
        <p:spPr>
          <a:xfrm>
            <a:off x="495300" y="1349621"/>
            <a:ext cx="11201400" cy="5008562"/>
          </a:xfrm>
        </p:spPr>
        <p:txBody>
          <a:bodyPr>
            <a:normAutofit/>
          </a:bodyPr>
          <a:lstStyle/>
          <a:p>
            <a:pPr marL="0" indent="0">
              <a:lnSpc>
                <a:spcPct val="100000"/>
              </a:lnSpc>
              <a:buNone/>
            </a:pPr>
            <a:r>
              <a:rPr lang="en-IN" sz="1600" b="1" dirty="0"/>
              <a:t>Traffic </a:t>
            </a:r>
          </a:p>
          <a:p>
            <a:pPr>
              <a:lnSpc>
                <a:spcPct val="100000"/>
              </a:lnSpc>
            </a:pPr>
            <a:r>
              <a:rPr lang="en-IN" sz="1400" dirty="0"/>
              <a:t>Crestone must use approved traffic haul route. </a:t>
            </a:r>
          </a:p>
          <a:p>
            <a:pPr>
              <a:lnSpc>
                <a:spcPct val="100000"/>
              </a:lnSpc>
            </a:pPr>
            <a:r>
              <a:rPr lang="en-IN" sz="1400" dirty="0"/>
              <a:t>Traffic impact fees will be paid to Arapahoe County.</a:t>
            </a:r>
          </a:p>
          <a:p>
            <a:pPr>
              <a:lnSpc>
                <a:spcPct val="100000"/>
              </a:lnSpc>
            </a:pPr>
            <a:r>
              <a:rPr lang="en-IN" sz="1400" dirty="0"/>
              <a:t>Water will be provided to the site via above ground pipeline for drilling and completions.</a:t>
            </a:r>
          </a:p>
          <a:p>
            <a:pPr>
              <a:lnSpc>
                <a:spcPct val="100000"/>
              </a:lnSpc>
            </a:pPr>
            <a:r>
              <a:rPr lang="en-IN" sz="1400" dirty="0"/>
              <a:t>A Traffic Impact Study will be included with  this application.</a:t>
            </a:r>
          </a:p>
          <a:p>
            <a:pPr>
              <a:lnSpc>
                <a:spcPct val="100000"/>
              </a:lnSpc>
            </a:pPr>
            <a:r>
              <a:rPr lang="en-US" sz="1400" dirty="0"/>
              <a:t>Oil and gas pipeline will be in place at the start of the Production phase to reduce truck traffic.</a:t>
            </a:r>
            <a:endParaRPr lang="en-IN" sz="1400" dirty="0"/>
          </a:p>
          <a:p>
            <a:pPr marL="0" indent="0">
              <a:lnSpc>
                <a:spcPct val="100000"/>
              </a:lnSpc>
              <a:buNone/>
            </a:pPr>
            <a:r>
              <a:rPr lang="en-US" sz="1600" b="1" dirty="0">
                <a:effectLst/>
                <a:ea typeface="Calibri" panose="020F0502020204030204" pitchFamily="34" charset="0"/>
                <a:cs typeface="Times New Roman" panose="02020603050405020304" pitchFamily="18" charset="0"/>
              </a:rPr>
              <a:t>Lightning Mitigation</a:t>
            </a:r>
          </a:p>
          <a:p>
            <a:pPr>
              <a:lnSpc>
                <a:spcPct val="100000"/>
              </a:lnSpc>
            </a:pPr>
            <a:r>
              <a:rPr lang="en-US" sz="1400" dirty="0">
                <a:effectLst/>
                <a:ea typeface="Calibri" panose="020F0502020204030204" pitchFamily="34" charset="0"/>
                <a:cs typeface="Times New Roman" panose="02020603050405020304" pitchFamily="18" charset="0"/>
              </a:rPr>
              <a:t>All permanent equipment onsite will be connected to an underground steel grounding grid.</a:t>
            </a:r>
          </a:p>
          <a:p>
            <a:pPr marL="0" indent="0">
              <a:lnSpc>
                <a:spcPct val="100000"/>
              </a:lnSpc>
              <a:buNone/>
            </a:pPr>
            <a:r>
              <a:rPr lang="en-US" sz="1600" b="1" dirty="0">
                <a:effectLst/>
                <a:ea typeface="Calibri" panose="020F0502020204030204" pitchFamily="34" charset="0"/>
                <a:cs typeface="Times New Roman" panose="02020603050405020304" pitchFamily="18" charset="0"/>
              </a:rPr>
              <a:t>Visual</a:t>
            </a:r>
          </a:p>
          <a:p>
            <a:pPr>
              <a:lnSpc>
                <a:spcPct val="100000"/>
              </a:lnSpc>
            </a:pPr>
            <a:r>
              <a:rPr lang="en-US" sz="1400" dirty="0">
                <a:effectLst/>
                <a:ea typeface="Calibri" panose="020F0502020204030204" pitchFamily="34" charset="0"/>
                <a:cs typeface="Times New Roman" panose="02020603050405020304" pitchFamily="18" charset="0"/>
              </a:rPr>
              <a:t>Location and access road shall be free of identified noxious weeds throughout operations.</a:t>
            </a:r>
          </a:p>
          <a:p>
            <a:pPr marL="0" indent="0">
              <a:lnSpc>
                <a:spcPct val="100000"/>
              </a:lnSpc>
              <a:buNone/>
            </a:pPr>
            <a:r>
              <a:rPr lang="en-US" sz="1600" b="1" dirty="0"/>
              <a:t>Wildlife and nearby High Priority Habitat (HPH)</a:t>
            </a:r>
          </a:p>
          <a:p>
            <a:pPr>
              <a:lnSpc>
                <a:spcPct val="100000"/>
              </a:lnSpc>
            </a:pPr>
            <a:r>
              <a:rPr lang="en-US" sz="1400" dirty="0"/>
              <a:t>Crestone will coordinate with Colorado Parks &amp; Wildlife (CPW) regarding operations within HPH and will implement CPW recommendations to reduce HPH impacts.</a:t>
            </a: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5E1D9B7-BB85-ACC7-C727-9B43EAA05DA9}"/>
              </a:ext>
            </a:extLst>
          </p:cNvPr>
          <p:cNvSpPr>
            <a:spLocks noGrp="1"/>
          </p:cNvSpPr>
          <p:nvPr>
            <p:ph type="sldNum" sz="quarter" idx="11"/>
          </p:nvPr>
        </p:nvSpPr>
        <p:spPr/>
        <p:txBody>
          <a:bodyPr/>
          <a:lstStyle/>
          <a:p>
            <a:fld id="{E12A10EF-65F5-415A-B4AC-FF5E1BACB397}" type="slidenum">
              <a:rPr lang="en-US" smtClean="0"/>
              <a:pPr/>
              <a:t>14</a:t>
            </a:fld>
            <a:endParaRPr lang="en-US"/>
          </a:p>
        </p:txBody>
      </p:sp>
      <p:grpSp>
        <p:nvGrpSpPr>
          <p:cNvPr id="7" name="Group 6">
            <a:extLst>
              <a:ext uri="{FF2B5EF4-FFF2-40B4-BE49-F238E27FC236}">
                <a16:creationId xmlns:a16="http://schemas.microsoft.com/office/drawing/2014/main" id="{EFC4AA74-37D1-B3FF-9BAB-FA532DB84BE1}"/>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13A58A8C-409F-3185-FBDA-2292655F84F4}"/>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C0B2B5-59D6-160A-C162-7E728D157885}"/>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0AB8C3E-856E-6A1F-9783-42A377877D1C}"/>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18124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urrent Permit Statu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5</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90651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Permit Statu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40810"/>
            <a:ext cx="11201400" cy="5008562"/>
          </a:xfrm>
        </p:spPr>
        <p:txBody>
          <a:bodyPr>
            <a:normAutofit/>
          </a:bodyPr>
          <a:lstStyle/>
          <a:p>
            <a:pPr marL="0" indent="0">
              <a:buNone/>
            </a:pPr>
            <a:r>
              <a:rPr lang="en-IN" sz="2000" b="1" u="sng" dirty="0"/>
              <a:t>Arapahoe County</a:t>
            </a:r>
            <a:endParaRPr lang="en-IN" sz="2000" b="1" dirty="0"/>
          </a:p>
          <a:p>
            <a:pPr marL="0" indent="0">
              <a:buNone/>
            </a:pPr>
            <a:r>
              <a:rPr lang="en-IN" sz="2000" dirty="0"/>
              <a:t>	Administrative Energy Use by Special Review (AEUSR)</a:t>
            </a:r>
          </a:p>
          <a:p>
            <a:pPr marL="0" indent="0">
              <a:buNone/>
            </a:pPr>
            <a:r>
              <a:rPr lang="en-IN" sz="2000" dirty="0"/>
              <a:t>		- Not yet filed</a:t>
            </a:r>
            <a:endParaRPr lang="en-IN" sz="2000" dirty="0">
              <a:highlight>
                <a:srgbClr val="FFFF00"/>
              </a:highlight>
            </a:endParaRPr>
          </a:p>
          <a:p>
            <a:pPr marL="0" indent="0">
              <a:buNone/>
            </a:pPr>
            <a:r>
              <a:rPr lang="en-IN" sz="2000" b="1" u="sng" dirty="0"/>
              <a:t>ECMC</a:t>
            </a:r>
          </a:p>
          <a:p>
            <a:pPr marL="0" indent="0">
              <a:buNone/>
            </a:pPr>
            <a:r>
              <a:rPr lang="en-IN" sz="2000" dirty="0"/>
              <a:t>	CAP</a:t>
            </a:r>
          </a:p>
          <a:p>
            <a:pPr marL="0" indent="0">
              <a:buNone/>
            </a:pPr>
            <a:r>
              <a:rPr lang="en-IN" sz="2000" dirty="0"/>
              <a:t>		- In Process, anticipated hearing June 2024</a:t>
            </a:r>
          </a:p>
          <a:p>
            <a:pPr marL="0" indent="0">
              <a:buNone/>
            </a:pPr>
            <a:r>
              <a:rPr lang="en-IN" sz="2000" dirty="0"/>
              <a:t>	OGDP/Form 2A (Location Assessment)  </a:t>
            </a:r>
          </a:p>
          <a:p>
            <a:pPr marL="0" indent="0">
              <a:buNone/>
            </a:pPr>
            <a:r>
              <a:rPr lang="en-IN" sz="2000" dirty="0"/>
              <a:t>		- Not yet filed</a:t>
            </a:r>
          </a:p>
          <a:p>
            <a:pPr marL="0" indent="0" algn="l">
              <a:buNone/>
            </a:pPr>
            <a:r>
              <a:rPr lang="en-IN" sz="2000" dirty="0"/>
              <a:t>	Form 2s (Well Permits) </a:t>
            </a:r>
          </a:p>
          <a:p>
            <a:pPr marL="0" indent="0" algn="l">
              <a:buNone/>
            </a:pPr>
            <a:r>
              <a:rPr lang="en-IN" sz="2000" dirty="0"/>
              <a:t>		- </a:t>
            </a:r>
            <a:r>
              <a:rPr lang="en-US" sz="2000" dirty="0">
                <a:latin typeface="+mn-lt"/>
              </a:rPr>
              <a:t>Not yet filed</a:t>
            </a:r>
            <a:endParaRPr lang="en-IN" sz="2000" dirty="0">
              <a:latin typeface="+mn-l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6</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468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onta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7</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07678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Company Contact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p:txBody>
          <a:bodyPr>
            <a:normAutofit/>
          </a:bodyPr>
          <a:lstStyle/>
          <a:p>
            <a:pPr marL="0" indent="0">
              <a:buNone/>
            </a:pPr>
            <a:endParaRPr lang="en-IN" sz="2000">
              <a:highlight>
                <a:srgbClr val="FFFF00"/>
              </a:highlight>
            </a:endParaRPr>
          </a:p>
          <a:p>
            <a:pPr marL="0" indent="0">
              <a:buNone/>
            </a:pPr>
            <a:r>
              <a:rPr lang="en-IN" sz="2000"/>
              <a:t>Dan Harrington</a:t>
            </a:r>
          </a:p>
          <a:p>
            <a:pPr marL="0" indent="0">
              <a:buNone/>
            </a:pPr>
            <a:r>
              <a:rPr lang="en-IN" sz="2000"/>
              <a:t>Asset Development Lead</a:t>
            </a:r>
          </a:p>
          <a:p>
            <a:pPr marL="0" indent="0">
              <a:buNone/>
            </a:pPr>
            <a:r>
              <a:rPr lang="en-IN" sz="2000"/>
              <a:t>Email:  lowryranchcap@civiresources.com</a:t>
            </a:r>
            <a:endParaRPr lang="en-IN" sz="2000">
              <a:highlight>
                <a:srgbClr val="FFFF00"/>
              </a:highlight>
            </a:endParaRPr>
          </a:p>
          <a:p>
            <a:pPr marL="0" indent="0">
              <a:buNone/>
            </a:pPr>
            <a:endParaRPr lang="en-IN" sz="2000">
              <a:highlight>
                <a:srgbClr val="FFFF00"/>
              </a:highlight>
            </a:endParaRPr>
          </a:p>
          <a:p>
            <a:pPr marL="0" indent="0">
              <a:buNone/>
            </a:pPr>
            <a:endParaRPr lang="en-IN" sz="200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29048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Question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6619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531F95-F89A-4EBE-A744-14990646E9F2}"/>
              </a:ext>
            </a:extLst>
          </p:cNvPr>
          <p:cNvSpPr>
            <a:spLocks noGrp="1"/>
          </p:cNvSpPr>
          <p:nvPr>
            <p:ph type="sldNum" sz="quarter" idx="11"/>
          </p:nvPr>
        </p:nvSpPr>
        <p:spPr/>
        <p:txBody>
          <a:bodyPr/>
          <a:lstStyle/>
          <a:p>
            <a:fld id="{E12A10EF-65F5-415A-B4AC-FF5E1BACB397}" type="slidenum">
              <a:rPr lang="en-US" smtClean="0"/>
              <a:pPr/>
              <a:t>2</a:t>
            </a:fld>
            <a:endParaRPr lang="en-US"/>
          </a:p>
        </p:txBody>
      </p:sp>
      <p:sp>
        <p:nvSpPr>
          <p:cNvPr id="29" name="Rectangle 28">
            <a:extLst>
              <a:ext uri="{FF2B5EF4-FFF2-40B4-BE49-F238E27FC236}">
                <a16:creationId xmlns:a16="http://schemas.microsoft.com/office/drawing/2014/main" id="{B191C227-E168-4A99-964D-347D14FB66DB}"/>
              </a:ext>
            </a:extLst>
          </p:cNvPr>
          <p:cNvSpPr/>
          <p:nvPr/>
        </p:nvSpPr>
        <p:spPr>
          <a:xfrm>
            <a:off x="5616572" y="13734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Who We are</a:t>
            </a:r>
          </a:p>
        </p:txBody>
      </p:sp>
      <p:sp>
        <p:nvSpPr>
          <p:cNvPr id="30" name="Rectangle 29">
            <a:extLst>
              <a:ext uri="{FF2B5EF4-FFF2-40B4-BE49-F238E27FC236}">
                <a16:creationId xmlns:a16="http://schemas.microsoft.com/office/drawing/2014/main" id="{BD43B5D4-F9D5-45E4-9A2C-5923D2F43B67}"/>
              </a:ext>
            </a:extLst>
          </p:cNvPr>
          <p:cNvSpPr/>
          <p:nvPr/>
        </p:nvSpPr>
        <p:spPr>
          <a:xfrm>
            <a:off x="5616572" y="2181133"/>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roject Information</a:t>
            </a:r>
          </a:p>
        </p:txBody>
      </p:sp>
      <p:sp>
        <p:nvSpPr>
          <p:cNvPr id="31" name="Rectangle 30">
            <a:extLst>
              <a:ext uri="{FF2B5EF4-FFF2-40B4-BE49-F238E27FC236}">
                <a16:creationId xmlns:a16="http://schemas.microsoft.com/office/drawing/2014/main" id="{4F425EFB-C000-4C69-A915-FCC34116ABD7}"/>
              </a:ext>
            </a:extLst>
          </p:cNvPr>
          <p:cNvSpPr/>
          <p:nvPr/>
        </p:nvSpPr>
        <p:spPr>
          <a:xfrm>
            <a:off x="5616572" y="2988852"/>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lanned Mitigation Measures</a:t>
            </a:r>
          </a:p>
        </p:txBody>
      </p:sp>
      <p:sp>
        <p:nvSpPr>
          <p:cNvPr id="32" name="Rectangle 31">
            <a:extLst>
              <a:ext uri="{FF2B5EF4-FFF2-40B4-BE49-F238E27FC236}">
                <a16:creationId xmlns:a16="http://schemas.microsoft.com/office/drawing/2014/main" id="{346ADABB-0F4F-45E3-B01C-1EE7CA73A4F9}"/>
              </a:ext>
            </a:extLst>
          </p:cNvPr>
          <p:cNvSpPr/>
          <p:nvPr/>
        </p:nvSpPr>
        <p:spPr>
          <a:xfrm>
            <a:off x="5616572" y="3796571"/>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urrent Permit Status</a:t>
            </a:r>
          </a:p>
        </p:txBody>
      </p:sp>
      <p:sp>
        <p:nvSpPr>
          <p:cNvPr id="33" name="Rectangle 32">
            <a:extLst>
              <a:ext uri="{FF2B5EF4-FFF2-40B4-BE49-F238E27FC236}">
                <a16:creationId xmlns:a16="http://schemas.microsoft.com/office/drawing/2014/main" id="{99410FFB-33AE-4F2D-A446-D9D2F34B7463}"/>
              </a:ext>
            </a:extLst>
          </p:cNvPr>
          <p:cNvSpPr/>
          <p:nvPr/>
        </p:nvSpPr>
        <p:spPr>
          <a:xfrm>
            <a:off x="5616572" y="4604290"/>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ontact Information</a:t>
            </a:r>
          </a:p>
        </p:txBody>
      </p:sp>
      <p:sp>
        <p:nvSpPr>
          <p:cNvPr id="34" name="Rectangle 33">
            <a:extLst>
              <a:ext uri="{FF2B5EF4-FFF2-40B4-BE49-F238E27FC236}">
                <a16:creationId xmlns:a16="http://schemas.microsoft.com/office/drawing/2014/main" id="{7416A942-17B9-470B-9F7C-E0B7679C816D}"/>
              </a:ext>
            </a:extLst>
          </p:cNvPr>
          <p:cNvSpPr/>
          <p:nvPr/>
        </p:nvSpPr>
        <p:spPr>
          <a:xfrm>
            <a:off x="5616572" y="54120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Questions</a:t>
            </a:r>
          </a:p>
        </p:txBody>
      </p:sp>
      <p:sp>
        <p:nvSpPr>
          <p:cNvPr id="24" name="Rectangle 23">
            <a:extLst>
              <a:ext uri="{FF2B5EF4-FFF2-40B4-BE49-F238E27FC236}">
                <a16:creationId xmlns:a16="http://schemas.microsoft.com/office/drawing/2014/main" id="{9004C8A9-CD88-492B-89A4-E6476BD779F8}"/>
              </a:ext>
            </a:extLst>
          </p:cNvPr>
          <p:cNvSpPr/>
          <p:nvPr/>
        </p:nvSpPr>
        <p:spPr>
          <a:xfrm>
            <a:off x="4965700" y="13734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1</a:t>
            </a:r>
          </a:p>
        </p:txBody>
      </p:sp>
      <p:sp>
        <p:nvSpPr>
          <p:cNvPr id="25" name="Rectangle 24">
            <a:extLst>
              <a:ext uri="{FF2B5EF4-FFF2-40B4-BE49-F238E27FC236}">
                <a16:creationId xmlns:a16="http://schemas.microsoft.com/office/drawing/2014/main" id="{28F10F3F-FBE4-49BB-AEBE-5554320564CA}"/>
              </a:ext>
            </a:extLst>
          </p:cNvPr>
          <p:cNvSpPr/>
          <p:nvPr/>
        </p:nvSpPr>
        <p:spPr>
          <a:xfrm>
            <a:off x="4965700" y="218113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2</a:t>
            </a:r>
          </a:p>
        </p:txBody>
      </p:sp>
      <p:sp>
        <p:nvSpPr>
          <p:cNvPr id="26" name="Rectangle 25">
            <a:extLst>
              <a:ext uri="{FF2B5EF4-FFF2-40B4-BE49-F238E27FC236}">
                <a16:creationId xmlns:a16="http://schemas.microsoft.com/office/drawing/2014/main" id="{4CC77AA2-BD96-4A5F-887D-900B342BF76D}"/>
              </a:ext>
            </a:extLst>
          </p:cNvPr>
          <p:cNvSpPr/>
          <p:nvPr/>
        </p:nvSpPr>
        <p:spPr>
          <a:xfrm>
            <a:off x="4965700" y="298885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3</a:t>
            </a:r>
          </a:p>
        </p:txBody>
      </p:sp>
      <p:sp>
        <p:nvSpPr>
          <p:cNvPr id="27" name="Rectangle 26">
            <a:extLst>
              <a:ext uri="{FF2B5EF4-FFF2-40B4-BE49-F238E27FC236}">
                <a16:creationId xmlns:a16="http://schemas.microsoft.com/office/drawing/2014/main" id="{0E8BBBA0-1F42-4466-B15B-B69E40C11C1C}"/>
              </a:ext>
            </a:extLst>
          </p:cNvPr>
          <p:cNvSpPr/>
          <p:nvPr/>
        </p:nvSpPr>
        <p:spPr>
          <a:xfrm>
            <a:off x="4965700" y="379657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4</a:t>
            </a:r>
          </a:p>
        </p:txBody>
      </p:sp>
      <p:sp>
        <p:nvSpPr>
          <p:cNvPr id="28" name="Rectangle 27">
            <a:extLst>
              <a:ext uri="{FF2B5EF4-FFF2-40B4-BE49-F238E27FC236}">
                <a16:creationId xmlns:a16="http://schemas.microsoft.com/office/drawing/2014/main" id="{161B2DE2-C547-4F46-AF02-E06A349E4BDC}"/>
              </a:ext>
            </a:extLst>
          </p:cNvPr>
          <p:cNvSpPr/>
          <p:nvPr/>
        </p:nvSpPr>
        <p:spPr>
          <a:xfrm>
            <a:off x="4965700" y="460429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5</a:t>
            </a:r>
          </a:p>
        </p:txBody>
      </p:sp>
      <p:sp>
        <p:nvSpPr>
          <p:cNvPr id="40" name="Rectangle 39">
            <a:extLst>
              <a:ext uri="{FF2B5EF4-FFF2-40B4-BE49-F238E27FC236}">
                <a16:creationId xmlns:a16="http://schemas.microsoft.com/office/drawing/2014/main" id="{193A7991-6441-45D8-9A4E-FF41486FAF30}"/>
              </a:ext>
            </a:extLst>
          </p:cNvPr>
          <p:cNvSpPr/>
          <p:nvPr/>
        </p:nvSpPr>
        <p:spPr>
          <a:xfrm>
            <a:off x="4965700" y="54120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6</a:t>
            </a:r>
          </a:p>
        </p:txBody>
      </p:sp>
      <p:cxnSp>
        <p:nvCxnSpPr>
          <p:cNvPr id="44" name="Straight Connector 43">
            <a:extLst>
              <a:ext uri="{FF2B5EF4-FFF2-40B4-BE49-F238E27FC236}">
                <a16:creationId xmlns:a16="http://schemas.microsoft.com/office/drawing/2014/main" id="{F8DAD22F-EBAB-40BE-A3D7-6E19DD928163}"/>
              </a:ext>
            </a:extLst>
          </p:cNvPr>
          <p:cNvCxnSpPr>
            <a:cxnSpLocks/>
          </p:cNvCxnSpPr>
          <p:nvPr/>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5" name="Title 4">
            <a:extLst>
              <a:ext uri="{FF2B5EF4-FFF2-40B4-BE49-F238E27FC236}">
                <a16:creationId xmlns:a16="http://schemas.microsoft.com/office/drawing/2014/main" id="{8ADD7714-7DF1-4456-A318-8762BEDCD9F0}"/>
              </a:ext>
            </a:extLst>
          </p:cNvPr>
          <p:cNvSpPr txBox="1">
            <a:spLocks/>
          </p:cNvSpPr>
          <p:nvPr/>
        </p:nvSpPr>
        <p:spPr>
          <a:xfrm>
            <a:off x="647701" y="3138715"/>
            <a:ext cx="3095624" cy="1103312"/>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pPr algn="r">
              <a:lnSpc>
                <a:spcPct val="100000"/>
              </a:lnSpc>
            </a:pPr>
            <a:r>
              <a:rPr lang="en-US"/>
              <a:t>Table of Contents</a:t>
            </a:r>
          </a:p>
        </p:txBody>
      </p:sp>
    </p:spTree>
    <p:extLst>
      <p:ext uri="{BB962C8B-B14F-4D97-AF65-F5344CB8AC3E}">
        <p14:creationId xmlns:p14="http://schemas.microsoft.com/office/powerpoint/2010/main" val="9104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D423DF-C2F5-4363-948C-F19CCBD79EBE}"/>
              </a:ext>
            </a:extLst>
          </p:cNvPr>
          <p:cNvSpPr>
            <a:spLocks noGrp="1"/>
          </p:cNvSpPr>
          <p:nvPr>
            <p:ph type="ctrTitle"/>
          </p:nvPr>
        </p:nvSpPr>
        <p:spPr/>
        <p:txBody>
          <a:bodyPr>
            <a:normAutofit/>
          </a:bodyPr>
          <a:lstStyle/>
          <a:p>
            <a:r>
              <a:rPr lang="en-US" sz="6600"/>
              <a:t>Thank You</a:t>
            </a:r>
          </a:p>
        </p:txBody>
      </p:sp>
      <p:sp>
        <p:nvSpPr>
          <p:cNvPr id="3" name="Slide Number Placeholder 2">
            <a:extLst>
              <a:ext uri="{FF2B5EF4-FFF2-40B4-BE49-F238E27FC236}">
                <a16:creationId xmlns:a16="http://schemas.microsoft.com/office/drawing/2014/main" id="{FDF09F26-9436-473D-9ED4-F7CB60A74330}"/>
              </a:ext>
            </a:extLst>
          </p:cNvPr>
          <p:cNvSpPr>
            <a:spLocks noGrp="1"/>
          </p:cNvSpPr>
          <p:nvPr>
            <p:ph type="sldNum" sz="quarter" idx="4294967295"/>
          </p:nvPr>
        </p:nvSpPr>
        <p:spPr>
          <a:xfrm>
            <a:off x="11009562" y="6449372"/>
            <a:ext cx="778221" cy="228600"/>
          </a:xfrm>
        </p:spPr>
        <p:txBody>
          <a:bodyPr vert="horz" lIns="91440" tIns="45720" rIns="91440" bIns="45720" rtlCol="0" anchor="ctr"/>
          <a:lstStyle/>
          <a:p>
            <a:fld id="{E12A10EF-65F5-415A-B4AC-FF5E1BACB397}" type="slidenum">
              <a:rPr lang="en-US"/>
              <a:pPr/>
              <a:t>20</a:t>
            </a:fld>
            <a:endParaRPr lang="en-US"/>
          </a:p>
        </p:txBody>
      </p:sp>
    </p:spTree>
    <p:extLst>
      <p:ext uri="{BB962C8B-B14F-4D97-AF65-F5344CB8AC3E}">
        <p14:creationId xmlns:p14="http://schemas.microsoft.com/office/powerpoint/2010/main" val="402936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08228F6-295D-4BDC-8CBC-DC67C8303F74}"/>
              </a:ext>
            </a:extLst>
          </p:cNvPr>
          <p:cNvSpPr>
            <a:spLocks noGrp="1"/>
          </p:cNvSpPr>
          <p:nvPr>
            <p:ph type="title"/>
          </p:nvPr>
        </p:nvSpPr>
        <p:spPr/>
        <p:txBody>
          <a:bodyPr/>
          <a:lstStyle/>
          <a:p>
            <a:r>
              <a:rPr lang="en-US"/>
              <a:t>Who we are</a:t>
            </a:r>
          </a:p>
        </p:txBody>
      </p:sp>
      <p:sp>
        <p:nvSpPr>
          <p:cNvPr id="2" name="Slide Number Placeholder 1">
            <a:extLst>
              <a:ext uri="{FF2B5EF4-FFF2-40B4-BE49-F238E27FC236}">
                <a16:creationId xmlns:a16="http://schemas.microsoft.com/office/drawing/2014/main" id="{0F4C2603-3216-4366-B1B8-7F085096EDA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A10EF-65F5-415A-B4AC-FF5E1BACB397}"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Content Placeholder 7">
            <a:extLst>
              <a:ext uri="{FF2B5EF4-FFF2-40B4-BE49-F238E27FC236}">
                <a16:creationId xmlns:a16="http://schemas.microsoft.com/office/drawing/2014/main" id="{18AFB7A1-A9E3-492B-A9A6-84E183E1D0B7}"/>
              </a:ext>
            </a:extLst>
          </p:cNvPr>
          <p:cNvSpPr>
            <a:spLocks noGrp="1"/>
          </p:cNvSpPr>
          <p:nvPr>
            <p:ph idx="1"/>
          </p:nvPr>
        </p:nvSpPr>
        <p:spPr>
          <a:xfrm>
            <a:off x="586383" y="1669410"/>
            <a:ext cx="11110317" cy="5008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t">
            <a:normAutofit/>
          </a:bodyPr>
          <a:lstStyle/>
          <a:p>
            <a:r>
              <a:rPr lang="en-IN" sz="2400" i="1" dirty="0">
                <a:solidFill>
                  <a:schemeClr val="tx1"/>
                </a:solidFill>
                <a:latin typeface="Calibri" panose="020F0502020204030204" pitchFamily="34" charset="0"/>
                <a:cs typeface="Calibri" panose="020F0502020204030204" pitchFamily="34" charset="0"/>
              </a:rPr>
              <a:t>Civitas Resources, Inc. was formed in November 2021 with the merger of four Colorado operating companies</a:t>
            </a:r>
          </a:p>
          <a:p>
            <a:r>
              <a:rPr lang="en-IN" sz="2400" i="1" dirty="0">
                <a:solidFill>
                  <a:schemeClr val="tx1"/>
                </a:solidFill>
                <a:latin typeface="Calibri" panose="020F0502020204030204" pitchFamily="34" charset="0"/>
                <a:cs typeface="Calibri" panose="020F0502020204030204" pitchFamily="34" charset="0"/>
              </a:rPr>
              <a:t>Crestone Peak Resources Operating LLC is a wholly-owned subsidiary of Civitas Resources, Inc</a:t>
            </a:r>
          </a:p>
          <a:p>
            <a:r>
              <a:rPr lang="en-IN" sz="2400" i="1" dirty="0">
                <a:solidFill>
                  <a:schemeClr val="tx1"/>
                </a:solidFill>
                <a:latin typeface="Calibri" panose="020F0502020204030204" pitchFamily="34" charset="0"/>
                <a:cs typeface="Calibri" panose="020F0502020204030204" pitchFamily="34" charset="0"/>
              </a:rPr>
              <a:t>Civitas is committed to the communities where we live and operate. We proudly demonstrate this commitment through leadership in Environmental, Social, and Governance(ESG) practices and is the first Carbon neutral oil and gas producer in Colorado</a:t>
            </a:r>
          </a:p>
          <a:p>
            <a:r>
              <a:rPr lang="en-IN" sz="2400" i="1" dirty="0">
                <a:solidFill>
                  <a:schemeClr val="tx1"/>
                </a:solidFill>
                <a:latin typeface="Calibri" panose="020F0502020204030204" pitchFamily="34" charset="0"/>
                <a:cs typeface="Calibri" panose="020F0502020204030204" pitchFamily="34" charset="0"/>
              </a:rPr>
              <a:t>Civitas is utilizing best in class best management practices to protect public health, safety, welfare, and environment, including wildlife resources</a:t>
            </a:r>
          </a:p>
          <a:p>
            <a:endParaRPr lang="en-IN" i="1" dirty="0">
              <a:solidFill>
                <a:schemeClr val="tx1"/>
              </a:solidFill>
              <a:latin typeface="Century Gothic" panose="020B0502020202020204" pitchFamily="34" charset="0"/>
            </a:endParaRPr>
          </a:p>
          <a:p>
            <a:endParaRPr lang="en-IN" i="1" dirty="0">
              <a:solidFill>
                <a:schemeClr val="tx1"/>
              </a:solidFill>
              <a:latin typeface="Century Gothic" panose="020B0502020202020204" pitchFamily="34" charset="0"/>
            </a:endParaRPr>
          </a:p>
          <a:p>
            <a:endParaRPr lang="en-IN" sz="3600" i="1"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794090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Proje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4</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0152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Location Plans and Information</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04217" y="1555110"/>
            <a:ext cx="11201400" cy="5008562"/>
          </a:xfrm>
          <a:solidFill>
            <a:schemeClr val="bg1"/>
          </a:solidFill>
        </p:spPr>
        <p:txBody>
          <a:bodyPr>
            <a:normAutofit/>
          </a:bodyPr>
          <a:lstStyle/>
          <a:p>
            <a:pPr marL="0" indent="0" algn="l">
              <a:buNone/>
            </a:pPr>
            <a:r>
              <a:rPr lang="en-US" sz="2000" b="0" i="0" u="none" strike="noStrike" baseline="0" dirty="0">
                <a:latin typeface="Calibri" panose="020F0502020204030204" pitchFamily="34" charset="0"/>
              </a:rPr>
              <a:t>Plans</a:t>
            </a:r>
            <a:r>
              <a:rPr lang="en-US" sz="2000" b="0" i="0" u="none" strike="noStrike" baseline="0" dirty="0">
                <a:highlight>
                  <a:srgbClr val="FFFF00"/>
                </a:highlight>
                <a:latin typeface="Calibri" panose="020F0502020204030204" pitchFamily="34" charset="0"/>
              </a:rPr>
              <a:t> </a:t>
            </a:r>
          </a:p>
          <a:p>
            <a:r>
              <a:rPr lang="en-US" sz="1600" b="0" i="0" u="none" strike="noStrike" baseline="0" dirty="0">
                <a:latin typeface="Calibri" panose="020F0502020204030204" pitchFamily="34" charset="0"/>
              </a:rPr>
              <a:t>We plan to drill up to </a:t>
            </a:r>
            <a:r>
              <a:rPr lang="en-US" sz="1600" dirty="0">
                <a:latin typeface="Calibri" panose="020F0502020204030204" pitchFamily="34" charset="0"/>
              </a:rPr>
              <a:t>32</a:t>
            </a:r>
            <a:r>
              <a:rPr lang="en-US" sz="1600" b="0" i="0" u="none" strike="noStrike" baseline="0" dirty="0">
                <a:latin typeface="Calibri" panose="020F0502020204030204" pitchFamily="34" charset="0"/>
              </a:rPr>
              <a:t> wells from</a:t>
            </a:r>
            <a:r>
              <a:rPr lang="en-US" sz="1600" dirty="0">
                <a:latin typeface="Calibri" panose="020F0502020204030204" pitchFamily="34" charset="0"/>
              </a:rPr>
              <a:t> one newly-constructed pad</a:t>
            </a:r>
            <a:endParaRPr lang="en-US" sz="1600" b="0" i="0" u="none" strike="noStrike" baseline="0" dirty="0">
              <a:latin typeface="Calibri" panose="020F0502020204030204" pitchFamily="34" charset="0"/>
            </a:endParaRPr>
          </a:p>
          <a:p>
            <a:r>
              <a:rPr lang="en-US" sz="1400" b="0" i="0" u="none" strike="noStrike" baseline="0" dirty="0">
                <a:latin typeface="Calibri" panose="020F0502020204030204" pitchFamily="34" charset="0"/>
              </a:rPr>
              <a:t>Up to 16 wells will be drilled from east to west, through sections 22 W2, 21, 20, and 19 or sections 27 W2, 28, 29, and 30, to a total horizontal length of 3.5 miles</a:t>
            </a:r>
          </a:p>
          <a:p>
            <a:r>
              <a:rPr lang="en-US" sz="1400" dirty="0">
                <a:latin typeface="Calibri" panose="020F0502020204030204" pitchFamily="34" charset="0"/>
              </a:rPr>
              <a:t>Up to 16 wells will be drilled from west to east, through sections 22 E2, 23, and 24 or sections 27 E2, 26, and 25, to a total horizontal length of 2.5 miles</a:t>
            </a:r>
            <a:r>
              <a:rPr lang="en-US" sz="1400" b="0" i="0" u="none" strike="noStrike" baseline="0" dirty="0">
                <a:latin typeface="Calibri" panose="020F0502020204030204" pitchFamily="34" charset="0"/>
              </a:rPr>
              <a:t> </a:t>
            </a:r>
          </a:p>
          <a:p>
            <a:pPr marL="0" indent="0">
              <a:buNone/>
            </a:pPr>
            <a:r>
              <a:rPr lang="en-US" sz="2000" dirty="0">
                <a:solidFill>
                  <a:schemeClr val="tx1"/>
                </a:solidFill>
                <a:latin typeface="Calibri" panose="020F0502020204030204" pitchFamily="34" charset="0"/>
              </a:rPr>
              <a:t>Information</a:t>
            </a:r>
          </a:p>
          <a:p>
            <a:r>
              <a:rPr lang="en-US" sz="1400" b="1" dirty="0">
                <a:solidFill>
                  <a:schemeClr val="tx1"/>
                </a:solidFill>
              </a:rPr>
              <a:t>Location: </a:t>
            </a:r>
            <a:r>
              <a:rPr lang="en-US" sz="1400" dirty="0">
                <a:solidFill>
                  <a:schemeClr val="tx1"/>
                </a:solidFill>
              </a:rPr>
              <a:t>SWNE Section 27 T5S-R65W 6</a:t>
            </a:r>
            <a:r>
              <a:rPr lang="en-US" sz="1400" baseline="30000" dirty="0">
                <a:solidFill>
                  <a:schemeClr val="tx1"/>
                </a:solidFill>
              </a:rPr>
              <a:t>th</a:t>
            </a:r>
            <a:r>
              <a:rPr lang="en-US" sz="1400" dirty="0">
                <a:solidFill>
                  <a:schemeClr val="tx1"/>
                </a:solidFill>
              </a:rPr>
              <a:t> PM                </a:t>
            </a:r>
          </a:p>
          <a:p>
            <a:r>
              <a:rPr lang="en-US" sz="1400" b="1" dirty="0">
                <a:solidFill>
                  <a:schemeClr val="tx1"/>
                </a:solidFill>
              </a:rPr>
              <a:t>Ownership:  </a:t>
            </a:r>
            <a:r>
              <a:rPr lang="en-US" sz="1400" dirty="0">
                <a:solidFill>
                  <a:schemeClr val="tx1"/>
                </a:solidFill>
              </a:rPr>
              <a:t>State Surface</a:t>
            </a:r>
          </a:p>
          <a:p>
            <a:r>
              <a:rPr lang="en-US" sz="1400" b="1" dirty="0">
                <a:solidFill>
                  <a:schemeClr val="tx1"/>
                </a:solidFill>
              </a:rPr>
              <a:t>Current &amp; Future Land Use:  </a:t>
            </a:r>
            <a:r>
              <a:rPr lang="en-US" sz="1400" dirty="0">
                <a:solidFill>
                  <a:schemeClr val="tx1"/>
                </a:solidFill>
              </a:rPr>
              <a:t>Rangeland</a:t>
            </a:r>
          </a:p>
          <a:p>
            <a:r>
              <a:rPr lang="en-US" sz="1400" b="1" dirty="0">
                <a:solidFill>
                  <a:schemeClr val="tx1"/>
                </a:solidFill>
              </a:rPr>
              <a:t>Initial Disturbance Area: </a:t>
            </a:r>
            <a:r>
              <a:rPr lang="en-US" sz="1400" dirty="0">
                <a:solidFill>
                  <a:schemeClr val="tx1"/>
                </a:solidFill>
              </a:rPr>
              <a:t>35.2 acres</a:t>
            </a:r>
          </a:p>
          <a:p>
            <a:r>
              <a:rPr lang="en-US" sz="1400" b="1" dirty="0">
                <a:solidFill>
                  <a:schemeClr val="tx1"/>
                </a:solidFill>
              </a:rPr>
              <a:t>Initial Working Pad Surface: </a:t>
            </a:r>
            <a:r>
              <a:rPr lang="en-US" sz="1400" dirty="0"/>
              <a:t>15.6</a:t>
            </a:r>
            <a:r>
              <a:rPr lang="en-US" sz="1400" dirty="0">
                <a:solidFill>
                  <a:schemeClr val="tx1"/>
                </a:solidFill>
              </a:rPr>
              <a:t> acres   </a:t>
            </a:r>
          </a:p>
          <a:p>
            <a:r>
              <a:rPr lang="en-US" sz="1400" b="1" dirty="0"/>
              <a:t>Interim Reclaimed Disturbance Area: </a:t>
            </a:r>
            <a:r>
              <a:rPr lang="en-US" sz="1400" dirty="0">
                <a:solidFill>
                  <a:schemeClr val="tx1"/>
                </a:solidFill>
              </a:rPr>
              <a:t>28.8 acres         </a:t>
            </a:r>
          </a:p>
          <a:p>
            <a:r>
              <a:rPr lang="en-US" sz="1400" b="1" dirty="0">
                <a:solidFill>
                  <a:schemeClr val="tx1"/>
                </a:solidFill>
              </a:rPr>
              <a:t>Interim Reclaimed Pad Surface </a:t>
            </a:r>
            <a:r>
              <a:rPr lang="en-US" sz="1400" b="1" dirty="0"/>
              <a:t>Area</a:t>
            </a:r>
            <a:r>
              <a:rPr lang="en-US" sz="1400" dirty="0">
                <a:solidFill>
                  <a:schemeClr val="tx1"/>
                </a:solidFill>
              </a:rPr>
              <a:t>: </a:t>
            </a:r>
            <a:r>
              <a:rPr lang="en-US" sz="1400" dirty="0"/>
              <a:t>6.3</a:t>
            </a:r>
            <a:r>
              <a:rPr lang="en-US" sz="1400" dirty="0">
                <a:solidFill>
                  <a:schemeClr val="tx1"/>
                </a:solidFill>
              </a:rPr>
              <a:t> acres</a:t>
            </a:r>
          </a:p>
          <a:p>
            <a:r>
              <a:rPr lang="en-US" sz="1400" b="1" dirty="0">
                <a:solidFill>
                  <a:schemeClr val="tx1"/>
                </a:solidFill>
              </a:rPr>
              <a:t>Planned # of wells:  </a:t>
            </a:r>
            <a:r>
              <a:rPr lang="en-US" sz="1400" dirty="0">
                <a:solidFill>
                  <a:schemeClr val="tx1"/>
                </a:solidFill>
              </a:rPr>
              <a:t>Up to </a:t>
            </a:r>
            <a:r>
              <a:rPr lang="en-US" sz="1400" dirty="0"/>
              <a:t>32</a:t>
            </a:r>
          </a:p>
          <a:p>
            <a:r>
              <a:rPr lang="en-US" sz="1400" b="1" dirty="0">
                <a:solidFill>
                  <a:schemeClr val="tx1"/>
                </a:solidFill>
              </a:rPr>
              <a:t>Nearest cross streets: </a:t>
            </a:r>
            <a:r>
              <a:rPr lang="en-US" sz="1400" dirty="0">
                <a:solidFill>
                  <a:schemeClr val="tx1"/>
                </a:solidFill>
              </a:rPr>
              <a:t>East </a:t>
            </a:r>
            <a:r>
              <a:rPr lang="en-US" sz="1400" dirty="0"/>
              <a:t>Quincy</a:t>
            </a:r>
            <a:r>
              <a:rPr lang="en-US" sz="1400" i="0" u="none" strike="noStrike" baseline="0" dirty="0"/>
              <a:t> Ave. &amp; S Harvest Rd.</a:t>
            </a:r>
            <a:endParaRPr lang="en-US" sz="1400" dirty="0"/>
          </a:p>
          <a:p>
            <a:endParaRPr lang="en-US" sz="2000" dirty="0">
              <a:latin typeface="Calibri" panose="020F0502020204030204" pitchFamily="34" charset="0"/>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5</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60027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5D4A4F0A-2227-44EC-993C-CBE03597840E}"/>
              </a:ext>
            </a:extLst>
          </p:cNvPr>
          <p:cNvSpPr>
            <a:spLocks noGrp="1"/>
          </p:cNvSpPr>
          <p:nvPr>
            <p:ph type="title"/>
          </p:nvPr>
        </p:nvSpPr>
        <p:spPr>
          <a:xfrm>
            <a:off x="630936" y="639520"/>
            <a:ext cx="3429000" cy="1719072"/>
          </a:xfrm>
        </p:spPr>
        <p:txBody>
          <a:bodyPr vert="horz" lIns="91440" tIns="45720" rIns="91440" bIns="45720" rtlCol="0" anchor="b">
            <a:normAutofit/>
          </a:bodyPr>
          <a:lstStyle/>
          <a:p>
            <a:r>
              <a:rPr lang="en-US" sz="2600" kern="1200" dirty="0">
                <a:solidFill>
                  <a:schemeClr val="tx1"/>
                </a:solidFill>
                <a:latin typeface="+mj-lt"/>
                <a:ea typeface="+mj-ea"/>
                <a:cs typeface="+mj-cs"/>
              </a:rPr>
              <a:t>Location</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and </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Haul Route</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Map</a:t>
            </a:r>
          </a:p>
        </p:txBody>
      </p:sp>
      <p:sp>
        <p:nvSpPr>
          <p:cNvPr id="19"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525F79B-6494-CD9C-2A43-CC8A7CAE1F77}"/>
              </a:ext>
            </a:extLst>
          </p:cNvPr>
          <p:cNvSpPr txBox="1"/>
          <p:nvPr/>
        </p:nvSpPr>
        <p:spPr>
          <a:xfrm>
            <a:off x="630936" y="2807208"/>
            <a:ext cx="3429000" cy="3410712"/>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1500" b="1" dirty="0"/>
              <a:t>Proposed Haul Route Directions:</a:t>
            </a:r>
          </a:p>
          <a:p>
            <a:pPr indent="-228600">
              <a:lnSpc>
                <a:spcPct val="90000"/>
              </a:lnSpc>
              <a:spcAft>
                <a:spcPts val="600"/>
              </a:spcAft>
              <a:buFont typeface="Arial" panose="020B0604020202020204" pitchFamily="34" charset="0"/>
              <a:buChar char="•"/>
            </a:pPr>
            <a:endParaRPr lang="en-US" sz="1500" b="1" dirty="0"/>
          </a:p>
          <a:p>
            <a:pPr indent="-228600">
              <a:lnSpc>
                <a:spcPct val="90000"/>
              </a:lnSpc>
              <a:spcAft>
                <a:spcPts val="600"/>
              </a:spcAft>
              <a:buFont typeface="Arial" panose="020B0604020202020204" pitchFamily="34" charset="0"/>
              <a:buChar char="•"/>
            </a:pPr>
            <a:r>
              <a:rPr lang="en-US" sz="1500" b="1" dirty="0"/>
              <a:t>From the State Sunlight-Long site, drive ~3.75 miles North on private access road to E. Quincy Ave. then East 3 miles to Watkins Road. Proceed North for 7 miles.  Enter i70 westbound toward Denver (~21 miles)</a:t>
            </a:r>
          </a:p>
          <a:p>
            <a:pPr indent="-228600">
              <a:lnSpc>
                <a:spcPct val="90000"/>
              </a:lnSpc>
              <a:spcAft>
                <a:spcPts val="600"/>
              </a:spcAft>
              <a:buFont typeface="Arial" panose="020B0604020202020204" pitchFamily="34" charset="0"/>
              <a:buChar char="•"/>
            </a:pPr>
            <a:endParaRPr lang="en-US" sz="1500" b="1" dirty="0"/>
          </a:p>
          <a:p>
            <a:pPr marL="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500" b="1" i="0" u="none" strike="noStrike" cap="none" spc="0" normalizeH="0" baseline="0" noProof="0" dirty="0">
                <a:ln>
                  <a:noFill/>
                </a:ln>
                <a:effectLst/>
                <a:uLnTx/>
                <a:uFillTx/>
              </a:rPr>
              <a:t>Yellow</a:t>
            </a:r>
            <a:r>
              <a:rPr lang="en-US" sz="1500" b="1" dirty="0"/>
              <a:t> </a:t>
            </a:r>
            <a:r>
              <a:rPr kumimoji="0" lang="en-US" sz="1500" b="1" i="0" u="none" strike="noStrike" cap="none" spc="0" normalizeH="0" baseline="0" noProof="0" dirty="0">
                <a:ln>
                  <a:noFill/>
                </a:ln>
                <a:effectLst/>
                <a:uLnTx/>
                <a:uFillTx/>
              </a:rPr>
              <a:t>line depicts Haul Route.</a:t>
            </a:r>
          </a:p>
          <a:p>
            <a:pPr indent="-228600">
              <a:lnSpc>
                <a:spcPct val="90000"/>
              </a:lnSpc>
              <a:spcAft>
                <a:spcPts val="600"/>
              </a:spcAft>
              <a:buFont typeface="Arial" panose="020B0604020202020204" pitchFamily="34" charset="0"/>
              <a:buChar char="•"/>
            </a:pPr>
            <a:endParaRPr lang="en-US" sz="1500" dirty="0"/>
          </a:p>
        </p:txBody>
      </p:sp>
      <p:sp>
        <p:nvSpPr>
          <p:cNvPr id="2" name="Slide Number Placeholder 1">
            <a:extLst>
              <a:ext uri="{FF2B5EF4-FFF2-40B4-BE49-F238E27FC236}">
                <a16:creationId xmlns:a16="http://schemas.microsoft.com/office/drawing/2014/main" id="{858D5535-5B5B-457F-83FA-4374E2CBE1FF}"/>
              </a:ext>
            </a:extLst>
          </p:cNvPr>
          <p:cNvSpPr>
            <a:spLocks noGrp="1"/>
          </p:cNvSpPr>
          <p:nvPr>
            <p:ph type="sldNum" sz="quarter" idx="11"/>
          </p:nvPr>
        </p:nvSpPr>
        <p:spPr>
          <a:xfrm>
            <a:off x="8610600" y="6356350"/>
            <a:ext cx="2743200" cy="365125"/>
          </a:xfrm>
        </p:spPr>
        <p:txBody>
          <a:bodyPr vert="horz" lIns="91440" tIns="45720" rIns="91440" bIns="45720" rtlCol="0" anchor="ctr">
            <a:normAutofit/>
          </a:bodyPr>
          <a:lstStyle/>
          <a:p>
            <a:pPr>
              <a:spcAft>
                <a:spcPts val="600"/>
              </a:spcAft>
            </a:pPr>
            <a:fld id="{E12A10EF-65F5-415A-B4AC-FF5E1BACB397}" type="slidenum">
              <a:rPr lang="en-US" sz="1200" smtClean="0">
                <a:solidFill>
                  <a:schemeClr val="tx1">
                    <a:tint val="75000"/>
                  </a:schemeClr>
                </a:solidFill>
                <a:latin typeface="+mn-lt"/>
              </a:rPr>
              <a:pPr>
                <a:spcAft>
                  <a:spcPts val="600"/>
                </a:spcAft>
              </a:pPr>
              <a:t>6</a:t>
            </a:fld>
            <a:endParaRPr lang="en-US" sz="1200">
              <a:solidFill>
                <a:schemeClr val="tx1">
                  <a:tint val="75000"/>
                </a:schemeClr>
              </a:solidFill>
              <a:latin typeface="+mn-lt"/>
            </a:endParaRPr>
          </a:p>
        </p:txBody>
      </p:sp>
      <p:sp>
        <p:nvSpPr>
          <p:cNvPr id="9" name="Rectangle 8">
            <a:extLst>
              <a:ext uri="{FF2B5EF4-FFF2-40B4-BE49-F238E27FC236}">
                <a16:creationId xmlns:a16="http://schemas.microsoft.com/office/drawing/2014/main" id="{74441159-E36B-40F5-B9EB-76A1EBD38F1F}"/>
              </a:ext>
            </a:extLst>
          </p:cNvPr>
          <p:cNvSpPr/>
          <p:nvPr/>
        </p:nvSpPr>
        <p:spPr>
          <a:xfrm>
            <a:off x="647700" y="1993900"/>
            <a:ext cx="3365328" cy="3871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a:solidFill>
                <a:schemeClr val="tx1"/>
              </a:solidFill>
              <a:latin typeface="Century Gothic" panose="020B0502020202020204" pitchFamily="34" charset="0"/>
            </a:endParaRPr>
          </a:p>
        </p:txBody>
      </p:sp>
      <p:sp>
        <p:nvSpPr>
          <p:cNvPr id="8" name="Title 13">
            <a:extLst>
              <a:ext uri="{FF2B5EF4-FFF2-40B4-BE49-F238E27FC236}">
                <a16:creationId xmlns:a16="http://schemas.microsoft.com/office/drawing/2014/main" id="{F3758A96-34D9-434F-87A7-4CCB2B2C07B5}"/>
              </a:ext>
            </a:extLst>
          </p:cNvPr>
          <p:cNvSpPr txBox="1">
            <a:spLocks/>
          </p:cNvSpPr>
          <p:nvPr/>
        </p:nvSpPr>
        <p:spPr>
          <a:xfrm>
            <a:off x="495300" y="-1273175"/>
            <a:ext cx="3517900" cy="1065213"/>
          </a:xfrm>
          <a:prstGeom prst="rect">
            <a:avLst/>
          </a:prstGeom>
        </p:spPr>
        <p:txBody>
          <a:bodyPr>
            <a:norm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endParaRPr lang="en-US"/>
          </a:p>
        </p:txBody>
      </p:sp>
      <p:pic>
        <p:nvPicPr>
          <p:cNvPr id="5" name="Picture 4">
            <a:extLst>
              <a:ext uri="{FF2B5EF4-FFF2-40B4-BE49-F238E27FC236}">
                <a16:creationId xmlns:a16="http://schemas.microsoft.com/office/drawing/2014/main" id="{5A8E5684-2E79-15C0-3BC5-A28D3DBD6A3E}"/>
              </a:ext>
            </a:extLst>
          </p:cNvPr>
          <p:cNvPicPr>
            <a:picLocks noChangeAspect="1"/>
          </p:cNvPicPr>
          <p:nvPr/>
        </p:nvPicPr>
        <p:blipFill rotWithShape="1">
          <a:blip r:embed="rId2"/>
          <a:srcRect t="1033"/>
          <a:stretch/>
        </p:blipFill>
        <p:spPr>
          <a:xfrm>
            <a:off x="4937364" y="70834"/>
            <a:ext cx="6100990" cy="6787166"/>
          </a:xfrm>
          <a:prstGeom prst="rect">
            <a:avLst/>
          </a:prstGeom>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448232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Setbacks</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7</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Content Placeholder 5">
            <a:extLst>
              <a:ext uri="{FF2B5EF4-FFF2-40B4-BE49-F238E27FC236}">
                <a16:creationId xmlns:a16="http://schemas.microsoft.com/office/drawing/2014/main" id="{58175C89-3DAC-F488-EFC2-9E47E5C62AA8}"/>
              </a:ext>
            </a:extLst>
          </p:cNvPr>
          <p:cNvSpPr>
            <a:spLocks noGrp="1"/>
          </p:cNvSpPr>
          <p:nvPr>
            <p:ph idx="1"/>
          </p:nvPr>
        </p:nvSpPr>
        <p:spPr>
          <a:xfrm>
            <a:off x="495300" y="1430338"/>
            <a:ext cx="11201400" cy="5008562"/>
          </a:xfrm>
        </p:spPr>
        <p:txBody>
          <a:bodyPr>
            <a:normAutofit/>
          </a:bodyPr>
          <a:lstStyle/>
          <a:p>
            <a:pPr marL="0" indent="0">
              <a:buNone/>
            </a:pPr>
            <a:r>
              <a:rPr lang="en-US" sz="2000" b="1" dirty="0"/>
              <a:t>Measured from Working Pad Surface to the feature:  </a:t>
            </a:r>
            <a:endParaRPr lang="en-US" sz="2000" b="1" dirty="0">
              <a:solidFill>
                <a:schemeClr val="tx1"/>
              </a:solidFill>
            </a:endParaRPr>
          </a:p>
          <a:p>
            <a:r>
              <a:rPr lang="en-US" sz="1600" b="1" dirty="0">
                <a:solidFill>
                  <a:schemeClr val="tx1"/>
                </a:solidFill>
              </a:rPr>
              <a:t>Nearest Residential Building Unit (RBU): </a:t>
            </a:r>
            <a:r>
              <a:rPr lang="en-US" sz="1600" dirty="0"/>
              <a:t>3,074’ W</a:t>
            </a:r>
            <a:endParaRPr lang="en-US" sz="1600" dirty="0">
              <a:solidFill>
                <a:schemeClr val="tx1"/>
              </a:solidFill>
            </a:endParaRPr>
          </a:p>
          <a:p>
            <a:r>
              <a:rPr lang="en-US" sz="1600" b="1" dirty="0">
                <a:solidFill>
                  <a:schemeClr val="tx1"/>
                </a:solidFill>
              </a:rPr>
              <a:t>Nearest Open Space: </a:t>
            </a:r>
            <a:r>
              <a:rPr lang="en-US" sz="1600" dirty="0">
                <a:solidFill>
                  <a:schemeClr val="tx1"/>
                </a:solidFill>
              </a:rPr>
              <a:t>&gt; 5,280’ NW</a:t>
            </a:r>
          </a:p>
          <a:p>
            <a:r>
              <a:rPr lang="en-US" sz="1600" b="1" dirty="0">
                <a:solidFill>
                  <a:schemeClr val="tx1"/>
                </a:solidFill>
              </a:rPr>
              <a:t>Nearest School Facility or Childcare Center</a:t>
            </a:r>
            <a:r>
              <a:rPr lang="en-US" sz="1600" dirty="0">
                <a:solidFill>
                  <a:schemeClr val="tx1"/>
                </a:solidFill>
              </a:rPr>
              <a:t>: &gt; 5,280’ </a:t>
            </a:r>
            <a:r>
              <a:rPr lang="en-US" sz="1600" dirty="0"/>
              <a:t>W</a:t>
            </a:r>
            <a:endParaRPr lang="en-US" sz="1600" dirty="0">
              <a:solidFill>
                <a:schemeClr val="tx1"/>
              </a:solidFill>
            </a:endParaRPr>
          </a:p>
          <a:p>
            <a:r>
              <a:rPr lang="en-US" sz="1600" b="1" dirty="0">
                <a:solidFill>
                  <a:srgbClr val="000000"/>
                </a:solidFill>
                <a:ea typeface="Calibri" panose="020F0502020204030204" pitchFamily="34" charset="0"/>
              </a:rPr>
              <a:t>N</a:t>
            </a:r>
            <a:r>
              <a:rPr lang="en-US" sz="1600" b="1" dirty="0">
                <a:solidFill>
                  <a:srgbClr val="000000"/>
                </a:solidFill>
                <a:effectLst/>
                <a:ea typeface="Calibri" panose="020F0502020204030204" pitchFamily="34" charset="0"/>
              </a:rPr>
              <a:t>earest surface water:  </a:t>
            </a:r>
            <a:r>
              <a:rPr lang="en-US" sz="1600" dirty="0">
                <a:solidFill>
                  <a:srgbClr val="000000"/>
                </a:solidFill>
                <a:effectLst/>
                <a:ea typeface="Calibri" panose="020F0502020204030204" pitchFamily="34" charset="0"/>
              </a:rPr>
              <a:t>3,220</a:t>
            </a:r>
            <a:r>
              <a:rPr lang="en-US" sz="1600" dirty="0">
                <a:solidFill>
                  <a:srgbClr val="000000"/>
                </a:solidFill>
                <a:ea typeface="Calibri" panose="020F0502020204030204" pitchFamily="34" charset="0"/>
              </a:rPr>
              <a:t>’ NW</a:t>
            </a:r>
          </a:p>
          <a:p>
            <a:endParaRPr lang="en-US" sz="1600" b="1" dirty="0">
              <a:solidFill>
                <a:srgbClr val="000000"/>
              </a:solidFill>
              <a:effectLst/>
              <a:ea typeface="Calibri" panose="020F0502020204030204" pitchFamily="34" charset="0"/>
            </a:endParaRPr>
          </a:p>
          <a:p>
            <a:r>
              <a:rPr lang="en-US" sz="1600" b="1" dirty="0">
                <a:solidFill>
                  <a:srgbClr val="000000"/>
                </a:solidFill>
                <a:effectLst/>
                <a:ea typeface="Calibri" panose="020F0502020204030204" pitchFamily="34" charset="0"/>
              </a:rPr>
              <a:t>Aurora Reservoir: </a:t>
            </a:r>
            <a:r>
              <a:rPr lang="en-US" sz="1600" dirty="0">
                <a:solidFill>
                  <a:srgbClr val="000000"/>
                </a:solidFill>
                <a:effectLst/>
                <a:ea typeface="Calibri" panose="020F0502020204030204" pitchFamily="34" charset="0"/>
              </a:rPr>
              <a:t>3,220</a:t>
            </a:r>
            <a:r>
              <a:rPr lang="en-US" sz="1600" dirty="0">
                <a:solidFill>
                  <a:srgbClr val="000000"/>
                </a:solidFill>
                <a:ea typeface="Calibri" panose="020F0502020204030204" pitchFamily="34" charset="0"/>
              </a:rPr>
              <a:t>’ NW</a:t>
            </a:r>
          </a:p>
          <a:p>
            <a:r>
              <a:rPr lang="en-US" sz="1600" b="1" dirty="0">
                <a:solidFill>
                  <a:srgbClr val="000000"/>
                </a:solidFill>
                <a:ea typeface="Calibri" panose="020F0502020204030204" pitchFamily="34" charset="0"/>
              </a:rPr>
              <a:t>Planned Reservoir B: </a:t>
            </a:r>
            <a:r>
              <a:rPr lang="en-US" sz="1600" dirty="0">
                <a:solidFill>
                  <a:srgbClr val="000000"/>
                </a:solidFill>
                <a:ea typeface="Calibri" panose="020F0502020204030204" pitchFamily="34" charset="0"/>
              </a:rPr>
              <a:t>&gt;5,280’ NE</a:t>
            </a:r>
            <a:endParaRPr lang="en-US" sz="1600" b="1" dirty="0">
              <a:solidFill>
                <a:srgbClr val="000000"/>
              </a:solidFill>
              <a:ea typeface="Calibri" panose="020F0502020204030204" pitchFamily="34" charset="0"/>
            </a:endParaRPr>
          </a:p>
          <a:p>
            <a:endParaRPr lang="en-US" sz="1100" dirty="0"/>
          </a:p>
          <a:p>
            <a:pPr marL="742950" lvl="1" indent="-285750">
              <a:lnSpc>
                <a:spcPct val="120000"/>
              </a:lnSpc>
              <a:spcBef>
                <a:spcPts val="0"/>
              </a:spcBef>
              <a:buFont typeface="Arial" panose="020B0604020202020204" pitchFamily="34" charset="0"/>
              <a:buChar char="•"/>
            </a:pPr>
            <a:endParaRPr lang="en-US" sz="1100" dirty="0">
              <a:solidFill>
                <a:schemeClr val="tx1"/>
              </a:solidFill>
              <a:highlight>
                <a:srgbClr val="FFFF00"/>
              </a:highlight>
            </a:endParaRPr>
          </a:p>
        </p:txBody>
      </p:sp>
      <p:sp>
        <p:nvSpPr>
          <p:cNvPr id="12" name="Slide Number Placeholder 18">
            <a:extLst>
              <a:ext uri="{FF2B5EF4-FFF2-40B4-BE49-F238E27FC236}">
                <a16:creationId xmlns:a16="http://schemas.microsoft.com/office/drawing/2014/main" id="{12F1E2FD-3258-7C84-3830-E49C37E14741}"/>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7</a:t>
            </a:fld>
            <a:endParaRPr lang="en-US"/>
          </a:p>
        </p:txBody>
      </p:sp>
    </p:spTree>
    <p:extLst>
      <p:ext uri="{BB962C8B-B14F-4D97-AF65-F5344CB8AC3E}">
        <p14:creationId xmlns:p14="http://schemas.microsoft.com/office/powerpoint/2010/main" val="3715377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 Estimated Timeline (subject to change)</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Content Placeholder 3">
            <a:extLst>
              <a:ext uri="{FF2B5EF4-FFF2-40B4-BE49-F238E27FC236}">
                <a16:creationId xmlns:a16="http://schemas.microsoft.com/office/drawing/2014/main" id="{A58D9A61-4065-8E2F-3748-B4809D8C9F39}"/>
              </a:ext>
            </a:extLst>
          </p:cNvPr>
          <p:cNvSpPr>
            <a:spLocks noGrp="1"/>
          </p:cNvSpPr>
          <p:nvPr>
            <p:ph idx="1"/>
          </p:nvPr>
        </p:nvSpPr>
        <p:spPr>
          <a:xfrm>
            <a:off x="495300" y="1484313"/>
            <a:ext cx="11201400" cy="5008562"/>
          </a:xfrm>
        </p:spPr>
        <p:txBody>
          <a:bodyPr>
            <a:normAutofit/>
          </a:bodyPr>
          <a:lstStyle/>
          <a:p>
            <a:pPr>
              <a:lnSpc>
                <a:spcPct val="150000"/>
              </a:lnSpc>
            </a:pPr>
            <a:r>
              <a:rPr lang="en-US" sz="1800" dirty="0"/>
              <a:t>Initial Construction: Q3 2025 (~60 Days)</a:t>
            </a:r>
          </a:p>
          <a:p>
            <a:pPr>
              <a:lnSpc>
                <a:spcPct val="150000"/>
              </a:lnSpc>
            </a:pPr>
            <a:r>
              <a:rPr lang="en-US" sz="1800" dirty="0"/>
              <a:t>Drilling: Q4 2025 – Q2 2026  (~230 days)</a:t>
            </a:r>
          </a:p>
          <a:p>
            <a:pPr>
              <a:lnSpc>
                <a:spcPct val="150000"/>
              </a:lnSpc>
            </a:pPr>
            <a:r>
              <a:rPr lang="en-US" sz="1800" dirty="0"/>
              <a:t>Completions: Q2 – Q3 2026 (~180 days)</a:t>
            </a:r>
          </a:p>
          <a:p>
            <a:pPr>
              <a:lnSpc>
                <a:spcPct val="150000"/>
              </a:lnSpc>
            </a:pPr>
            <a:r>
              <a:rPr lang="en-US" sz="1800" dirty="0"/>
              <a:t>Anticipated First Production: Q4 2026</a:t>
            </a:r>
          </a:p>
          <a:p>
            <a:pPr>
              <a:lnSpc>
                <a:spcPct val="150000"/>
              </a:lnSpc>
            </a:pPr>
            <a:r>
              <a:rPr lang="en-US" sz="1800" dirty="0"/>
              <a:t>Anticipated Interim Reclamation: Q4 2026</a:t>
            </a:r>
          </a:p>
          <a:p>
            <a:pPr>
              <a:lnSpc>
                <a:spcPct val="150000"/>
              </a:lnSpc>
            </a:pPr>
            <a:endParaRPr lang="en-US" sz="1800" dirty="0"/>
          </a:p>
          <a:p>
            <a:pPr>
              <a:lnSpc>
                <a:spcPct val="150000"/>
              </a:lnSpc>
            </a:pPr>
            <a:endParaRPr lang="en-US" sz="1800" dirty="0"/>
          </a:p>
          <a:p>
            <a:pPr>
              <a:lnSpc>
                <a:spcPct val="150000"/>
              </a:lnSpc>
            </a:pPr>
            <a:endParaRPr lang="en-US" sz="1800" dirty="0"/>
          </a:p>
        </p:txBody>
      </p:sp>
    </p:spTree>
    <p:extLst>
      <p:ext uri="{BB962C8B-B14F-4D97-AF65-F5344CB8AC3E}">
        <p14:creationId xmlns:p14="http://schemas.microsoft.com/office/powerpoint/2010/main" val="85147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fontScale="90000"/>
          </a:bodyPr>
          <a:lstStyle/>
          <a:p>
            <a:r>
              <a:rPr lang="en-US" sz="4000" b="1">
                <a:solidFill>
                  <a:srgbClr val="013061"/>
                </a:solidFill>
              </a:rPr>
              <a:t>Planned Mitigation Measures and </a:t>
            </a:r>
            <a:br>
              <a:rPr lang="en-US" sz="4000" b="1">
                <a:solidFill>
                  <a:srgbClr val="013061"/>
                </a:solidFill>
              </a:rPr>
            </a:br>
            <a:r>
              <a:rPr lang="en-US" sz="4000" b="1">
                <a:solidFill>
                  <a:srgbClr val="013061"/>
                </a:solidFill>
              </a:rPr>
              <a:t>Best Management Practices (BMP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8049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IVITAS">
      <a:dk1>
        <a:sysClr val="windowText" lastClr="000000"/>
      </a:dk1>
      <a:lt1>
        <a:sysClr val="window" lastClr="FFFFFF"/>
      </a:lt1>
      <a:dk2>
        <a:srgbClr val="44546A"/>
      </a:dk2>
      <a:lt2>
        <a:srgbClr val="E7E6E6"/>
      </a:lt2>
      <a:accent1>
        <a:srgbClr val="429BD6"/>
      </a:accent1>
      <a:accent2>
        <a:srgbClr val="194F73"/>
      </a:accent2>
      <a:accent3>
        <a:srgbClr val="231F1F"/>
      </a:accent3>
      <a:accent4>
        <a:srgbClr val="807C84"/>
      </a:accent4>
      <a:accent5>
        <a:srgbClr val="B2B2B2"/>
      </a:accent5>
      <a:accent6>
        <a:srgbClr val="A9D7F9"/>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7</TotalTime>
  <Words>1693</Words>
  <Application>Microsoft Office PowerPoint</Application>
  <PresentationFormat>Widescreen</PresentationFormat>
  <Paragraphs>163</Paragraphs>
  <Slides>2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Century Gothic</vt:lpstr>
      <vt:lpstr>Office Theme</vt:lpstr>
      <vt:lpstr>think-cell Slide</vt:lpstr>
      <vt:lpstr>State Sunlight-Long (Lowry Ranch CAP)</vt:lpstr>
      <vt:lpstr>PowerPoint Presentation</vt:lpstr>
      <vt:lpstr>Who we are</vt:lpstr>
      <vt:lpstr>Project Information</vt:lpstr>
      <vt:lpstr>Location Plans and Information</vt:lpstr>
      <vt:lpstr>Location and  Haul Route Map</vt:lpstr>
      <vt:lpstr>Setbacks</vt:lpstr>
      <vt:lpstr> Estimated Timeline (subject to change)</vt:lpstr>
      <vt:lpstr>Planned Mitigation Measures and  Best Management Practices (BMPs)</vt:lpstr>
      <vt:lpstr>Mitigation and BMPs</vt:lpstr>
      <vt:lpstr>Mitigation and BMPs (continued)</vt:lpstr>
      <vt:lpstr>Mitigation and BMPs (continued)</vt:lpstr>
      <vt:lpstr>Mitigation and BMPs (continued)</vt:lpstr>
      <vt:lpstr>Mitigation and BMPs (continued)</vt:lpstr>
      <vt:lpstr>Current Permit Status</vt:lpstr>
      <vt:lpstr>Permit Status</vt:lpstr>
      <vt:lpstr>Contact Information</vt:lpstr>
      <vt:lpstr>Company Contacts</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yan Matthew Lyngshing [Chillibreeze]</dc:creator>
  <cp:lastModifiedBy>Dan Harrington</cp:lastModifiedBy>
  <cp:revision>15</cp:revision>
  <cp:lastPrinted>2021-11-09T16:53:10Z</cp:lastPrinted>
  <dcterms:created xsi:type="dcterms:W3CDTF">2021-03-24T04:32:47Z</dcterms:created>
  <dcterms:modified xsi:type="dcterms:W3CDTF">2024-02-23T23:13:14Z</dcterms:modified>
</cp:coreProperties>
</file>